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02" r:id="rId1"/>
  </p:sldMasterIdLst>
  <p:notesMasterIdLst>
    <p:notesMasterId r:id="rId26"/>
  </p:notesMasterIdLst>
  <p:handoutMasterIdLst>
    <p:handoutMasterId r:id="rId27"/>
  </p:handoutMasterIdLst>
  <p:sldIdLst>
    <p:sldId id="256" r:id="rId2"/>
    <p:sldId id="311" r:id="rId3"/>
    <p:sldId id="288" r:id="rId4"/>
    <p:sldId id="289" r:id="rId5"/>
    <p:sldId id="290" r:id="rId6"/>
    <p:sldId id="291" r:id="rId7"/>
    <p:sldId id="292" r:id="rId8"/>
    <p:sldId id="293" r:id="rId9"/>
    <p:sldId id="294" r:id="rId10"/>
    <p:sldId id="312" r:id="rId11"/>
    <p:sldId id="295" r:id="rId12"/>
    <p:sldId id="297" r:id="rId13"/>
    <p:sldId id="299" r:id="rId14"/>
    <p:sldId id="300" r:id="rId15"/>
    <p:sldId id="301" r:id="rId16"/>
    <p:sldId id="302" r:id="rId17"/>
    <p:sldId id="305" r:id="rId18"/>
    <p:sldId id="303" r:id="rId19"/>
    <p:sldId id="304" r:id="rId20"/>
    <p:sldId id="306" r:id="rId21"/>
    <p:sldId id="308" r:id="rId22"/>
    <p:sldId id="309" r:id="rId23"/>
    <p:sldId id="287" r:id="rId24"/>
    <p:sldId id="310" r:id="rId25"/>
  </p:sldIdLst>
  <p:sldSz cx="12192000" cy="6858000"/>
  <p:notesSz cx="7315200" cy="96012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B8CE"/>
    <a:srgbClr val="F2F2F2"/>
    <a:srgbClr val="626D7B"/>
    <a:srgbClr val="FFE399"/>
    <a:srgbClr val="D4F0F5"/>
    <a:srgbClr val="FFC732"/>
    <a:srgbClr val="7ED4E1"/>
    <a:srgbClr val="000000"/>
    <a:srgbClr val="E03619"/>
    <a:srgbClr val="74D0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BCB12D-1FBE-45F5-85C0-0E10B5B53851}" v="278" dt="2020-12-14T11:53:24.8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929"/>
    <p:restoredTop sz="92642"/>
  </p:normalViewPr>
  <p:slideViewPr>
    <p:cSldViewPr snapToGrid="0" snapToObjects="1">
      <p:cViewPr>
        <p:scale>
          <a:sx n="105" d="100"/>
          <a:sy n="105" d="100"/>
        </p:scale>
        <p:origin x="1410" y="114"/>
      </p:cViewPr>
      <p:guideLst>
        <p:guide orient="horz" pos="2183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295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urizio Ragusa" userId="7116ddc8-25eb-4c36-8910-62a6a26d8117" providerId="ADAL" clId="{24DC4498-4F87-4A60-89C7-6EF91BB29E4A}"/>
    <pc:docChg chg="undo redo custSel addSld delSld modSld sldOrd">
      <pc:chgData name="Maurizio Ragusa" userId="7116ddc8-25eb-4c36-8910-62a6a26d8117" providerId="ADAL" clId="{24DC4498-4F87-4A60-89C7-6EF91BB29E4A}" dt="2020-03-11T10:10:02.353" v="5093" actId="122"/>
      <pc:docMkLst>
        <pc:docMk/>
      </pc:docMkLst>
      <pc:sldChg chg="del">
        <pc:chgData name="Maurizio Ragusa" userId="7116ddc8-25eb-4c36-8910-62a6a26d8117" providerId="ADAL" clId="{24DC4498-4F87-4A60-89C7-6EF91BB29E4A}" dt="2020-03-10T15:51:13.868" v="0" actId="2696"/>
        <pc:sldMkLst>
          <pc:docMk/>
          <pc:sldMk cId="899248123" sldId="286"/>
        </pc:sldMkLst>
      </pc:sldChg>
      <pc:sldChg chg="add ord">
        <pc:chgData name="Maurizio Ragusa" userId="7116ddc8-25eb-4c36-8910-62a6a26d8117" providerId="ADAL" clId="{24DC4498-4F87-4A60-89C7-6EF91BB29E4A}" dt="2020-03-10T15:58:02.419" v="3"/>
        <pc:sldMkLst>
          <pc:docMk/>
          <pc:sldMk cId="1020496249" sldId="286"/>
        </pc:sldMkLst>
      </pc:sldChg>
      <pc:sldChg chg="addSp delSp modSp add mod ord">
        <pc:chgData name="Maurizio Ragusa" userId="7116ddc8-25eb-4c36-8910-62a6a26d8117" providerId="ADAL" clId="{24DC4498-4F87-4A60-89C7-6EF91BB29E4A}" dt="2020-03-11T08:28:14.051" v="964" actId="113"/>
        <pc:sldMkLst>
          <pc:docMk/>
          <pc:sldMk cId="749014973" sldId="287"/>
        </pc:sldMkLst>
        <pc:spChg chg="mod">
          <ac:chgData name="Maurizio Ragusa" userId="7116ddc8-25eb-4c36-8910-62a6a26d8117" providerId="ADAL" clId="{24DC4498-4F87-4A60-89C7-6EF91BB29E4A}" dt="2020-03-11T08:11:20.669" v="38" actId="20577"/>
          <ac:spMkLst>
            <pc:docMk/>
            <pc:sldMk cId="749014973" sldId="287"/>
            <ac:spMk id="2" creationId="{4D647796-90A1-41E7-BC1B-D8CF67138DAA}"/>
          </ac:spMkLst>
        </pc:spChg>
        <pc:spChg chg="del">
          <ac:chgData name="Maurizio Ragusa" userId="7116ddc8-25eb-4c36-8910-62a6a26d8117" providerId="ADAL" clId="{24DC4498-4F87-4A60-89C7-6EF91BB29E4A}" dt="2020-03-11T08:17:38.323" v="329" actId="478"/>
          <ac:spMkLst>
            <pc:docMk/>
            <pc:sldMk cId="749014973" sldId="287"/>
            <ac:spMk id="3" creationId="{E0192D99-0575-48F5-B865-EAC317CF7A36}"/>
          </ac:spMkLst>
        </pc:spChg>
        <pc:spChg chg="add mod">
          <ac:chgData name="Maurizio Ragusa" userId="7116ddc8-25eb-4c36-8910-62a6a26d8117" providerId="ADAL" clId="{24DC4498-4F87-4A60-89C7-6EF91BB29E4A}" dt="2020-03-11T08:18:12.480" v="336" actId="1076"/>
          <ac:spMkLst>
            <pc:docMk/>
            <pc:sldMk cId="749014973" sldId="287"/>
            <ac:spMk id="4" creationId="{6A83C167-C64E-4B95-B4A6-75DC301AE85D}"/>
          </ac:spMkLst>
        </pc:spChg>
        <pc:spChg chg="add mod">
          <ac:chgData name="Maurizio Ragusa" userId="7116ddc8-25eb-4c36-8910-62a6a26d8117" providerId="ADAL" clId="{24DC4498-4F87-4A60-89C7-6EF91BB29E4A}" dt="2020-03-11T08:26:51.038" v="786" actId="14100"/>
          <ac:spMkLst>
            <pc:docMk/>
            <pc:sldMk cId="749014973" sldId="287"/>
            <ac:spMk id="7" creationId="{62A3DEB5-EE2D-49E6-8B10-B922936AF7EF}"/>
          </ac:spMkLst>
        </pc:spChg>
        <pc:spChg chg="add del mod">
          <ac:chgData name="Maurizio Ragusa" userId="7116ddc8-25eb-4c36-8910-62a6a26d8117" providerId="ADAL" clId="{24DC4498-4F87-4A60-89C7-6EF91BB29E4A}" dt="2020-03-11T08:24:10.569" v="776" actId="478"/>
          <ac:spMkLst>
            <pc:docMk/>
            <pc:sldMk cId="749014973" sldId="287"/>
            <ac:spMk id="8" creationId="{FF75E991-3E1F-4C3E-ADDC-5283E98F048C}"/>
          </ac:spMkLst>
        </pc:spChg>
        <pc:spChg chg="add mod">
          <ac:chgData name="Maurizio Ragusa" userId="7116ddc8-25eb-4c36-8910-62a6a26d8117" providerId="ADAL" clId="{24DC4498-4F87-4A60-89C7-6EF91BB29E4A}" dt="2020-03-11T08:28:14.051" v="964" actId="113"/>
          <ac:spMkLst>
            <pc:docMk/>
            <pc:sldMk cId="749014973" sldId="287"/>
            <ac:spMk id="9" creationId="{2087459D-4085-456F-8D8C-FA4334D57EAE}"/>
          </ac:spMkLst>
        </pc:spChg>
        <pc:picChg chg="add del mod">
          <ac:chgData name="Maurizio Ragusa" userId="7116ddc8-25eb-4c36-8910-62a6a26d8117" providerId="ADAL" clId="{24DC4498-4F87-4A60-89C7-6EF91BB29E4A}" dt="2020-03-11T08:17:41.798" v="330"/>
          <ac:picMkLst>
            <pc:docMk/>
            <pc:sldMk cId="749014973" sldId="287"/>
            <ac:picMk id="6" creationId="{A774C0FC-6753-4846-8AFD-EEEBF3157736}"/>
          </ac:picMkLst>
        </pc:picChg>
      </pc:sldChg>
      <pc:sldChg chg="addSp delSp modSp add mod">
        <pc:chgData name="Maurizio Ragusa" userId="7116ddc8-25eb-4c36-8910-62a6a26d8117" providerId="ADAL" clId="{24DC4498-4F87-4A60-89C7-6EF91BB29E4A}" dt="2020-03-11T08:42:05.686" v="1609" actId="114"/>
        <pc:sldMkLst>
          <pc:docMk/>
          <pc:sldMk cId="2372744392" sldId="288"/>
        </pc:sldMkLst>
        <pc:spChg chg="mod">
          <ac:chgData name="Maurizio Ragusa" userId="7116ddc8-25eb-4c36-8910-62a6a26d8117" providerId="ADAL" clId="{24DC4498-4F87-4A60-89C7-6EF91BB29E4A}" dt="2020-03-11T08:29:19.336" v="992" actId="20577"/>
          <ac:spMkLst>
            <pc:docMk/>
            <pc:sldMk cId="2372744392" sldId="288"/>
            <ac:spMk id="2" creationId="{8268C7F0-47D3-4E88-8FAF-126D776250AB}"/>
          </ac:spMkLst>
        </pc:spChg>
        <pc:spChg chg="del mod">
          <ac:chgData name="Maurizio Ragusa" userId="7116ddc8-25eb-4c36-8910-62a6a26d8117" providerId="ADAL" clId="{24DC4498-4F87-4A60-89C7-6EF91BB29E4A}" dt="2020-03-11T08:28:59.321" v="985" actId="478"/>
          <ac:spMkLst>
            <pc:docMk/>
            <pc:sldMk cId="2372744392" sldId="288"/>
            <ac:spMk id="3" creationId="{18A2AD95-3B3C-4F80-B12F-9BBDE3E009A5}"/>
          </ac:spMkLst>
        </pc:spChg>
        <pc:spChg chg="add mod">
          <ac:chgData name="Maurizio Ragusa" userId="7116ddc8-25eb-4c36-8910-62a6a26d8117" providerId="ADAL" clId="{24DC4498-4F87-4A60-89C7-6EF91BB29E4A}" dt="2020-03-11T08:42:05.686" v="1609" actId="114"/>
          <ac:spMkLst>
            <pc:docMk/>
            <pc:sldMk cId="2372744392" sldId="288"/>
            <ac:spMk id="5" creationId="{7DA0CB3F-1AB8-4249-8119-CFEEBD46C610}"/>
          </ac:spMkLst>
        </pc:spChg>
        <pc:spChg chg="add del mod">
          <ac:chgData name="Maurizio Ragusa" userId="7116ddc8-25eb-4c36-8910-62a6a26d8117" providerId="ADAL" clId="{24DC4498-4F87-4A60-89C7-6EF91BB29E4A}" dt="2020-03-11T08:32:46.351" v="1202" actId="11529"/>
          <ac:spMkLst>
            <pc:docMk/>
            <pc:sldMk cId="2372744392" sldId="288"/>
            <ac:spMk id="6" creationId="{497EF518-B91B-40B1-9462-6FFC6EE18FBF}"/>
          </ac:spMkLst>
        </pc:spChg>
        <pc:spChg chg="add del mod">
          <ac:chgData name="Maurizio Ragusa" userId="7116ddc8-25eb-4c36-8910-62a6a26d8117" providerId="ADAL" clId="{24DC4498-4F87-4A60-89C7-6EF91BB29E4A}" dt="2020-03-11T08:34:00.341" v="1210" actId="11529"/>
          <ac:spMkLst>
            <pc:docMk/>
            <pc:sldMk cId="2372744392" sldId="288"/>
            <ac:spMk id="11" creationId="{D3FBBDF9-E680-4462-986B-80079FE77683}"/>
          </ac:spMkLst>
        </pc:spChg>
        <pc:spChg chg="add del mod">
          <ac:chgData name="Maurizio Ragusa" userId="7116ddc8-25eb-4c36-8910-62a6a26d8117" providerId="ADAL" clId="{24DC4498-4F87-4A60-89C7-6EF91BB29E4A}" dt="2020-03-11T08:35:23.137" v="1232" actId="478"/>
          <ac:spMkLst>
            <pc:docMk/>
            <pc:sldMk cId="2372744392" sldId="288"/>
            <ac:spMk id="12" creationId="{2537D7AB-54CB-40FE-8468-7C0C2E48243E}"/>
          </ac:spMkLst>
        </pc:spChg>
        <pc:spChg chg="add del mod">
          <ac:chgData name="Maurizio Ragusa" userId="7116ddc8-25eb-4c36-8910-62a6a26d8117" providerId="ADAL" clId="{24DC4498-4F87-4A60-89C7-6EF91BB29E4A}" dt="2020-03-11T08:36:12.642" v="1236" actId="11529"/>
          <ac:spMkLst>
            <pc:docMk/>
            <pc:sldMk cId="2372744392" sldId="288"/>
            <ac:spMk id="16" creationId="{72E33A6B-9AF6-43D2-AB64-B15925874FC6}"/>
          </ac:spMkLst>
        </pc:spChg>
        <pc:spChg chg="add mod">
          <ac:chgData name="Maurizio Ragusa" userId="7116ddc8-25eb-4c36-8910-62a6a26d8117" providerId="ADAL" clId="{24DC4498-4F87-4A60-89C7-6EF91BB29E4A}" dt="2020-03-11T08:36:51.941" v="1254" actId="1076"/>
          <ac:spMkLst>
            <pc:docMk/>
            <pc:sldMk cId="2372744392" sldId="288"/>
            <ac:spMk id="17" creationId="{97677195-2024-43A7-AEF0-AFC97415CE0A}"/>
          </ac:spMkLst>
        </pc:spChg>
        <pc:picChg chg="add mod">
          <ac:chgData name="Maurizio Ragusa" userId="7116ddc8-25eb-4c36-8910-62a6a26d8117" providerId="ADAL" clId="{24DC4498-4F87-4A60-89C7-6EF91BB29E4A}" dt="2020-03-11T08:29:10.708" v="988" actId="1076"/>
          <ac:picMkLst>
            <pc:docMk/>
            <pc:sldMk cId="2372744392" sldId="288"/>
            <ac:picMk id="4" creationId="{06FF6E52-3BF0-4FAA-B6B4-D4E1737FA024}"/>
          </ac:picMkLst>
        </pc:picChg>
        <pc:cxnChg chg="add del mod">
          <ac:chgData name="Maurizio Ragusa" userId="7116ddc8-25eb-4c36-8910-62a6a26d8117" providerId="ADAL" clId="{24DC4498-4F87-4A60-89C7-6EF91BB29E4A}" dt="2020-03-11T08:32:55.079" v="1204" actId="11529"/>
          <ac:cxnSpMkLst>
            <pc:docMk/>
            <pc:sldMk cId="2372744392" sldId="288"/>
            <ac:cxnSpMk id="8" creationId="{76BABF6C-F6C9-40CB-83B6-249E0D5B72FF}"/>
          </ac:cxnSpMkLst>
        </pc:cxnChg>
        <pc:cxnChg chg="add del mod">
          <ac:chgData name="Maurizio Ragusa" userId="7116ddc8-25eb-4c36-8910-62a6a26d8117" providerId="ADAL" clId="{24DC4498-4F87-4A60-89C7-6EF91BB29E4A}" dt="2020-03-11T08:33:30.178" v="1206" actId="478"/>
          <ac:cxnSpMkLst>
            <pc:docMk/>
            <pc:sldMk cId="2372744392" sldId="288"/>
            <ac:cxnSpMk id="10" creationId="{F00717FF-BE49-4631-A290-C7B38A319C59}"/>
          </ac:cxnSpMkLst>
        </pc:cxnChg>
        <pc:cxnChg chg="add mod">
          <ac:chgData name="Maurizio Ragusa" userId="7116ddc8-25eb-4c36-8910-62a6a26d8117" providerId="ADAL" clId="{24DC4498-4F87-4A60-89C7-6EF91BB29E4A}" dt="2020-03-11T08:35:43.507" v="1234" actId="14100"/>
          <ac:cxnSpMkLst>
            <pc:docMk/>
            <pc:sldMk cId="2372744392" sldId="288"/>
            <ac:cxnSpMk id="14" creationId="{B6FF37E1-47B9-476D-9B4E-3DAC5CA0A318}"/>
          </ac:cxnSpMkLst>
        </pc:cxnChg>
      </pc:sldChg>
      <pc:sldChg chg="addSp modSp add mod">
        <pc:chgData name="Maurizio Ragusa" userId="7116ddc8-25eb-4c36-8910-62a6a26d8117" providerId="ADAL" clId="{24DC4498-4F87-4A60-89C7-6EF91BB29E4A}" dt="2020-03-11T08:46:59.570" v="1664" actId="14100"/>
        <pc:sldMkLst>
          <pc:docMk/>
          <pc:sldMk cId="3284270096" sldId="289"/>
        </pc:sldMkLst>
        <pc:spChg chg="mod">
          <ac:chgData name="Maurizio Ragusa" userId="7116ddc8-25eb-4c36-8910-62a6a26d8117" providerId="ADAL" clId="{24DC4498-4F87-4A60-89C7-6EF91BB29E4A}" dt="2020-03-11T08:37:28.444" v="1268" actId="20577"/>
          <ac:spMkLst>
            <pc:docMk/>
            <pc:sldMk cId="3284270096" sldId="289"/>
            <ac:spMk id="2" creationId="{62C3066C-68CF-496C-B76B-CE37953CE926}"/>
          </ac:spMkLst>
        </pc:spChg>
        <pc:spChg chg="mod">
          <ac:chgData name="Maurizio Ragusa" userId="7116ddc8-25eb-4c36-8910-62a6a26d8117" providerId="ADAL" clId="{24DC4498-4F87-4A60-89C7-6EF91BB29E4A}" dt="2020-03-11T08:43:28.732" v="1637" actId="1076"/>
          <ac:spMkLst>
            <pc:docMk/>
            <pc:sldMk cId="3284270096" sldId="289"/>
            <ac:spMk id="3" creationId="{A04C6ED6-4421-4583-B0E2-066BC894B963}"/>
          </ac:spMkLst>
        </pc:spChg>
        <pc:picChg chg="add mod">
          <ac:chgData name="Maurizio Ragusa" userId="7116ddc8-25eb-4c36-8910-62a6a26d8117" providerId="ADAL" clId="{24DC4498-4F87-4A60-89C7-6EF91BB29E4A}" dt="2020-03-11T08:46:59.570" v="1664" actId="14100"/>
          <ac:picMkLst>
            <pc:docMk/>
            <pc:sldMk cId="3284270096" sldId="289"/>
            <ac:picMk id="5" creationId="{8D2FBC45-4334-4A48-9231-ADF37467D765}"/>
          </ac:picMkLst>
        </pc:picChg>
        <pc:picChg chg="add mod">
          <ac:chgData name="Maurizio Ragusa" userId="7116ddc8-25eb-4c36-8910-62a6a26d8117" providerId="ADAL" clId="{24DC4498-4F87-4A60-89C7-6EF91BB29E4A}" dt="2020-03-11T08:46:33.303" v="1661" actId="1076"/>
          <ac:picMkLst>
            <pc:docMk/>
            <pc:sldMk cId="3284270096" sldId="289"/>
            <ac:picMk id="7" creationId="{FB817114-924B-4704-9A1E-077E65BABAD0}"/>
          </ac:picMkLst>
        </pc:picChg>
      </pc:sldChg>
      <pc:sldChg chg="addSp delSp modSp add mod">
        <pc:chgData name="Maurizio Ragusa" userId="7116ddc8-25eb-4c36-8910-62a6a26d8117" providerId="ADAL" clId="{24DC4498-4F87-4A60-89C7-6EF91BB29E4A}" dt="2020-03-11T09:05:19.114" v="2712" actId="113"/>
        <pc:sldMkLst>
          <pc:docMk/>
          <pc:sldMk cId="1294163913" sldId="290"/>
        </pc:sldMkLst>
        <pc:spChg chg="mod">
          <ac:chgData name="Maurizio Ragusa" userId="7116ddc8-25eb-4c36-8910-62a6a26d8117" providerId="ADAL" clId="{24DC4498-4F87-4A60-89C7-6EF91BB29E4A}" dt="2020-03-11T08:52:25.926" v="1948" actId="20577"/>
          <ac:spMkLst>
            <pc:docMk/>
            <pc:sldMk cId="1294163913" sldId="290"/>
            <ac:spMk id="2" creationId="{5D38E0B7-887F-4025-A94F-68B90B256130}"/>
          </ac:spMkLst>
        </pc:spChg>
        <pc:spChg chg="del">
          <ac:chgData name="Maurizio Ragusa" userId="7116ddc8-25eb-4c36-8910-62a6a26d8117" providerId="ADAL" clId="{24DC4498-4F87-4A60-89C7-6EF91BB29E4A}" dt="2020-03-11T08:52:19.295" v="1946" actId="478"/>
          <ac:spMkLst>
            <pc:docMk/>
            <pc:sldMk cId="1294163913" sldId="290"/>
            <ac:spMk id="3" creationId="{F337C7D7-053D-4D69-8E65-EB39C7B1471B}"/>
          </ac:spMkLst>
        </pc:spChg>
        <pc:spChg chg="add mod">
          <ac:chgData name="Maurizio Ragusa" userId="7116ddc8-25eb-4c36-8910-62a6a26d8117" providerId="ADAL" clId="{24DC4498-4F87-4A60-89C7-6EF91BB29E4A}" dt="2020-03-11T09:05:19.114" v="2712" actId="113"/>
          <ac:spMkLst>
            <pc:docMk/>
            <pc:sldMk cId="1294163913" sldId="290"/>
            <ac:spMk id="4" creationId="{AB357931-EEB4-4805-AE21-E0D17035B76B}"/>
          </ac:spMkLst>
        </pc:spChg>
        <pc:spChg chg="add mod">
          <ac:chgData name="Maurizio Ragusa" userId="7116ddc8-25eb-4c36-8910-62a6a26d8117" providerId="ADAL" clId="{24DC4498-4F87-4A60-89C7-6EF91BB29E4A}" dt="2020-03-11T09:03:01.843" v="2614" actId="1076"/>
          <ac:spMkLst>
            <pc:docMk/>
            <pc:sldMk cId="1294163913" sldId="290"/>
            <ac:spMk id="7" creationId="{BFDF6623-A3E1-4477-A4FA-92FD42057F08}"/>
          </ac:spMkLst>
        </pc:spChg>
        <pc:spChg chg="add del mod">
          <ac:chgData name="Maurizio Ragusa" userId="7116ddc8-25eb-4c36-8910-62a6a26d8117" providerId="ADAL" clId="{24DC4498-4F87-4A60-89C7-6EF91BB29E4A}" dt="2020-03-11T08:56:15.593" v="2155" actId="478"/>
          <ac:spMkLst>
            <pc:docMk/>
            <pc:sldMk cId="1294163913" sldId="290"/>
            <ac:spMk id="8" creationId="{10328103-9E51-47CA-B962-19204DA69B9F}"/>
          </ac:spMkLst>
        </pc:spChg>
        <pc:picChg chg="add mod">
          <ac:chgData name="Maurizio Ragusa" userId="7116ddc8-25eb-4c36-8910-62a6a26d8117" providerId="ADAL" clId="{24DC4498-4F87-4A60-89C7-6EF91BB29E4A}" dt="2020-03-11T09:02:17.019" v="2613" actId="1076"/>
          <ac:picMkLst>
            <pc:docMk/>
            <pc:sldMk cId="1294163913" sldId="290"/>
            <ac:picMk id="6" creationId="{97FE6627-627D-4269-9944-91923807CA22}"/>
          </ac:picMkLst>
        </pc:picChg>
      </pc:sldChg>
      <pc:sldChg chg="addSp delSp modSp add mod">
        <pc:chgData name="Maurizio Ragusa" userId="7116ddc8-25eb-4c36-8910-62a6a26d8117" providerId="ADAL" clId="{24DC4498-4F87-4A60-89C7-6EF91BB29E4A}" dt="2020-03-11T08:51:55.715" v="1929" actId="14100"/>
        <pc:sldMkLst>
          <pc:docMk/>
          <pc:sldMk cId="3453988248" sldId="291"/>
        </pc:sldMkLst>
        <pc:spChg chg="mod">
          <ac:chgData name="Maurizio Ragusa" userId="7116ddc8-25eb-4c36-8910-62a6a26d8117" providerId="ADAL" clId="{24DC4498-4F87-4A60-89C7-6EF91BB29E4A}" dt="2020-03-11T08:47:52.703" v="1675" actId="20577"/>
          <ac:spMkLst>
            <pc:docMk/>
            <pc:sldMk cId="3453988248" sldId="291"/>
            <ac:spMk id="2" creationId="{8170CDF4-9AC6-4638-9064-2646E84029D2}"/>
          </ac:spMkLst>
        </pc:spChg>
        <pc:spChg chg="del">
          <ac:chgData name="Maurizio Ragusa" userId="7116ddc8-25eb-4c36-8910-62a6a26d8117" providerId="ADAL" clId="{24DC4498-4F87-4A60-89C7-6EF91BB29E4A}" dt="2020-03-11T08:47:56.500" v="1676" actId="478"/>
          <ac:spMkLst>
            <pc:docMk/>
            <pc:sldMk cId="3453988248" sldId="291"/>
            <ac:spMk id="3" creationId="{433F2CF1-1911-4E24-881F-F5598255AD2B}"/>
          </ac:spMkLst>
        </pc:spChg>
        <pc:spChg chg="add mod">
          <ac:chgData name="Maurizio Ragusa" userId="7116ddc8-25eb-4c36-8910-62a6a26d8117" providerId="ADAL" clId="{24DC4498-4F87-4A60-89C7-6EF91BB29E4A}" dt="2020-03-11T08:51:55.715" v="1929" actId="14100"/>
          <ac:spMkLst>
            <pc:docMk/>
            <pc:sldMk cId="3453988248" sldId="291"/>
            <ac:spMk id="4" creationId="{A7B8DF69-3FE8-4772-910A-1C164C266C9D}"/>
          </ac:spMkLst>
        </pc:spChg>
        <pc:picChg chg="add mod">
          <ac:chgData name="Maurizio Ragusa" userId="7116ddc8-25eb-4c36-8910-62a6a26d8117" providerId="ADAL" clId="{24DC4498-4F87-4A60-89C7-6EF91BB29E4A}" dt="2020-03-11T08:51:52.116" v="1928" actId="1076"/>
          <ac:picMkLst>
            <pc:docMk/>
            <pc:sldMk cId="3453988248" sldId="291"/>
            <ac:picMk id="6" creationId="{FE906D8B-B56E-4C2C-AEFA-51E109CDB934}"/>
          </ac:picMkLst>
        </pc:picChg>
      </pc:sldChg>
      <pc:sldChg chg="addSp delSp modSp add mod">
        <pc:chgData name="Maurizio Ragusa" userId="7116ddc8-25eb-4c36-8910-62a6a26d8117" providerId="ADAL" clId="{24DC4498-4F87-4A60-89C7-6EF91BB29E4A}" dt="2020-03-11T09:15:30.304" v="3500" actId="14100"/>
        <pc:sldMkLst>
          <pc:docMk/>
          <pc:sldMk cId="1027902939" sldId="292"/>
        </pc:sldMkLst>
        <pc:spChg chg="mod">
          <ac:chgData name="Maurizio Ragusa" userId="7116ddc8-25eb-4c36-8910-62a6a26d8117" providerId="ADAL" clId="{24DC4498-4F87-4A60-89C7-6EF91BB29E4A}" dt="2020-03-11T09:05:36.926" v="2739" actId="20577"/>
          <ac:spMkLst>
            <pc:docMk/>
            <pc:sldMk cId="1027902939" sldId="292"/>
            <ac:spMk id="2" creationId="{952FDC43-2E6D-441B-9636-3CB929F8C45E}"/>
          </ac:spMkLst>
        </pc:spChg>
        <pc:spChg chg="add del mod">
          <ac:chgData name="Maurizio Ragusa" userId="7116ddc8-25eb-4c36-8910-62a6a26d8117" providerId="ADAL" clId="{24DC4498-4F87-4A60-89C7-6EF91BB29E4A}" dt="2020-03-11T09:15:30.304" v="3500" actId="14100"/>
          <ac:spMkLst>
            <pc:docMk/>
            <pc:sldMk cId="1027902939" sldId="292"/>
            <ac:spMk id="3" creationId="{7D33E77A-0098-410C-980F-B74B0C604E4F}"/>
          </ac:spMkLst>
        </pc:spChg>
      </pc:sldChg>
      <pc:sldChg chg="addSp delSp modSp add mod">
        <pc:chgData name="Maurizio Ragusa" userId="7116ddc8-25eb-4c36-8910-62a6a26d8117" providerId="ADAL" clId="{24DC4498-4F87-4A60-89C7-6EF91BB29E4A}" dt="2020-03-11T09:36:03.510" v="3897" actId="20577"/>
        <pc:sldMkLst>
          <pc:docMk/>
          <pc:sldMk cId="3435360593" sldId="293"/>
        </pc:sldMkLst>
        <pc:spChg chg="mod">
          <ac:chgData name="Maurizio Ragusa" userId="7116ddc8-25eb-4c36-8910-62a6a26d8117" providerId="ADAL" clId="{24DC4498-4F87-4A60-89C7-6EF91BB29E4A}" dt="2020-03-11T09:19:11.595" v="3542" actId="20577"/>
          <ac:spMkLst>
            <pc:docMk/>
            <pc:sldMk cId="3435360593" sldId="293"/>
            <ac:spMk id="2" creationId="{922A9E5C-8957-499F-9D96-F8F4E3560034}"/>
          </ac:spMkLst>
        </pc:spChg>
        <pc:spChg chg="mod">
          <ac:chgData name="Maurizio Ragusa" userId="7116ddc8-25eb-4c36-8910-62a6a26d8117" providerId="ADAL" clId="{24DC4498-4F87-4A60-89C7-6EF91BB29E4A}" dt="2020-03-11T09:22:12.548" v="3738" actId="20577"/>
          <ac:spMkLst>
            <pc:docMk/>
            <pc:sldMk cId="3435360593" sldId="293"/>
            <ac:spMk id="3" creationId="{6ADF1943-16FD-49ED-8F83-9A2815999220}"/>
          </ac:spMkLst>
        </pc:spChg>
        <pc:spChg chg="add mod">
          <ac:chgData name="Maurizio Ragusa" userId="7116ddc8-25eb-4c36-8910-62a6a26d8117" providerId="ADAL" clId="{24DC4498-4F87-4A60-89C7-6EF91BB29E4A}" dt="2020-03-11T09:36:03.510" v="3897" actId="20577"/>
          <ac:spMkLst>
            <pc:docMk/>
            <pc:sldMk cId="3435360593" sldId="293"/>
            <ac:spMk id="7" creationId="{FC30BE36-8742-4247-B226-C12EA789F7A9}"/>
          </ac:spMkLst>
        </pc:spChg>
        <pc:graphicFrameChg chg="add del mod modGraphic">
          <ac:chgData name="Maurizio Ragusa" userId="7116ddc8-25eb-4c36-8910-62a6a26d8117" providerId="ADAL" clId="{24DC4498-4F87-4A60-89C7-6EF91BB29E4A}" dt="2020-03-11T09:33:25.345" v="3743" actId="478"/>
          <ac:graphicFrameMkLst>
            <pc:docMk/>
            <pc:sldMk cId="3435360593" sldId="293"/>
            <ac:graphicFrameMk id="4" creationId="{DC541FF0-5783-474D-9893-458479A4DE81}"/>
          </ac:graphicFrameMkLst>
        </pc:graphicFrameChg>
        <pc:graphicFrameChg chg="add mod modGraphic">
          <ac:chgData name="Maurizio Ragusa" userId="7116ddc8-25eb-4c36-8910-62a6a26d8117" providerId="ADAL" clId="{24DC4498-4F87-4A60-89C7-6EF91BB29E4A}" dt="2020-03-11T09:34:30.812" v="3748" actId="20577"/>
          <ac:graphicFrameMkLst>
            <pc:docMk/>
            <pc:sldMk cId="3435360593" sldId="293"/>
            <ac:graphicFrameMk id="5" creationId="{DF7EF5B5-F604-4B8C-A9EC-7E73F15868EC}"/>
          </ac:graphicFrameMkLst>
        </pc:graphicFrameChg>
        <pc:graphicFrameChg chg="add del">
          <ac:chgData name="Maurizio Ragusa" userId="7116ddc8-25eb-4c36-8910-62a6a26d8117" providerId="ADAL" clId="{24DC4498-4F87-4A60-89C7-6EF91BB29E4A}" dt="2020-03-11T09:34:47.946" v="3750"/>
          <ac:graphicFrameMkLst>
            <pc:docMk/>
            <pc:sldMk cId="3435360593" sldId="293"/>
            <ac:graphicFrameMk id="6" creationId="{A27560E9-ED6F-46C1-8EB9-93ED9F58D71F}"/>
          </ac:graphicFrameMkLst>
        </pc:graphicFrameChg>
      </pc:sldChg>
      <pc:sldChg chg="addSp delSp modSp add mod">
        <pc:chgData name="Maurizio Ragusa" userId="7116ddc8-25eb-4c36-8910-62a6a26d8117" providerId="ADAL" clId="{24DC4498-4F87-4A60-89C7-6EF91BB29E4A}" dt="2020-03-11T10:10:02.353" v="5093" actId="122"/>
        <pc:sldMkLst>
          <pc:docMk/>
          <pc:sldMk cId="1387362155" sldId="294"/>
        </pc:sldMkLst>
        <pc:spChg chg="mod">
          <ac:chgData name="Maurizio Ragusa" userId="7116ddc8-25eb-4c36-8910-62a6a26d8117" providerId="ADAL" clId="{24DC4498-4F87-4A60-89C7-6EF91BB29E4A}" dt="2020-03-11T10:08:38.022" v="4912" actId="1076"/>
          <ac:spMkLst>
            <pc:docMk/>
            <pc:sldMk cId="1387362155" sldId="294"/>
            <ac:spMk id="2" creationId="{4A682871-A9DC-4C0E-8B1D-306DDF2CB589}"/>
          </ac:spMkLst>
        </pc:spChg>
        <pc:spChg chg="mod">
          <ac:chgData name="Maurizio Ragusa" userId="7116ddc8-25eb-4c36-8910-62a6a26d8117" providerId="ADAL" clId="{24DC4498-4F87-4A60-89C7-6EF91BB29E4A}" dt="2020-03-11T09:43:40.633" v="4240" actId="12"/>
          <ac:spMkLst>
            <pc:docMk/>
            <pc:sldMk cId="1387362155" sldId="294"/>
            <ac:spMk id="3" creationId="{87442EC4-444B-41D5-AD93-9D34D85BF19E}"/>
          </ac:spMkLst>
        </pc:spChg>
        <pc:spChg chg="add del mod">
          <ac:chgData name="Maurizio Ragusa" userId="7116ddc8-25eb-4c36-8910-62a6a26d8117" providerId="ADAL" clId="{24DC4498-4F87-4A60-89C7-6EF91BB29E4A}" dt="2020-03-11T09:43:38.172" v="4239" actId="11529"/>
          <ac:spMkLst>
            <pc:docMk/>
            <pc:sldMk cId="1387362155" sldId="294"/>
            <ac:spMk id="4" creationId="{F3DBC844-6007-442A-A65C-BBA6FF03CB97}"/>
          </ac:spMkLst>
        </pc:spChg>
        <pc:spChg chg="add mod">
          <ac:chgData name="Maurizio Ragusa" userId="7116ddc8-25eb-4c36-8910-62a6a26d8117" providerId="ADAL" clId="{24DC4498-4F87-4A60-89C7-6EF91BB29E4A}" dt="2020-03-11T10:07:34.354" v="4876" actId="1076"/>
          <ac:spMkLst>
            <pc:docMk/>
            <pc:sldMk cId="1387362155" sldId="294"/>
            <ac:spMk id="5" creationId="{4869B9F5-4485-45D4-9173-044B8CBD402D}"/>
          </ac:spMkLst>
        </pc:spChg>
        <pc:spChg chg="add mod">
          <ac:chgData name="Maurizio Ragusa" userId="7116ddc8-25eb-4c36-8910-62a6a26d8117" providerId="ADAL" clId="{24DC4498-4F87-4A60-89C7-6EF91BB29E4A}" dt="2020-03-11T10:03:22.068" v="4875" actId="20577"/>
          <ac:spMkLst>
            <pc:docMk/>
            <pc:sldMk cId="1387362155" sldId="294"/>
            <ac:spMk id="6" creationId="{D32408A5-CAD4-46FE-B93A-D5D84B52A65E}"/>
          </ac:spMkLst>
        </pc:spChg>
        <pc:spChg chg="add del mod">
          <ac:chgData name="Maurizio Ragusa" userId="7116ddc8-25eb-4c36-8910-62a6a26d8117" providerId="ADAL" clId="{24DC4498-4F87-4A60-89C7-6EF91BB29E4A}" dt="2020-03-11T10:08:44.062" v="4913" actId="478"/>
          <ac:spMkLst>
            <pc:docMk/>
            <pc:sldMk cId="1387362155" sldId="294"/>
            <ac:spMk id="7" creationId="{A13C6E76-E3E1-4D22-A7B0-90A79D8129A3}"/>
          </ac:spMkLst>
        </pc:spChg>
        <pc:spChg chg="add mod">
          <ac:chgData name="Maurizio Ragusa" userId="7116ddc8-25eb-4c36-8910-62a6a26d8117" providerId="ADAL" clId="{24DC4498-4F87-4A60-89C7-6EF91BB29E4A}" dt="2020-03-11T10:10:02.353" v="5093" actId="122"/>
          <ac:spMkLst>
            <pc:docMk/>
            <pc:sldMk cId="1387362155" sldId="294"/>
            <ac:spMk id="8" creationId="{EA5F3D72-BF09-4334-B934-1BF7FD84C326}"/>
          </ac:spMkLst>
        </pc:spChg>
      </pc:sldChg>
    </pc:docChg>
  </pc:docChgLst>
  <pc:docChgLst>
    <pc:chgData name="Maurizio Ragusa" userId="7116ddc8-25eb-4c36-8910-62a6a26d8117" providerId="ADAL" clId="{F01262E5-779F-4BC4-856F-124F5B50F332}"/>
    <pc:docChg chg="undo redo custSel addSld delSld modSld sldOrd modMainMaster modHandout modShowInfo">
      <pc:chgData name="Maurizio Ragusa" userId="7116ddc8-25eb-4c36-8910-62a6a26d8117" providerId="ADAL" clId="{F01262E5-779F-4BC4-856F-124F5B50F332}" dt="2019-12-17T11:02:26.587" v="7636"/>
      <pc:docMkLst>
        <pc:docMk/>
      </pc:docMkLst>
      <pc:sldChg chg="modSp">
        <pc:chgData name="Maurizio Ragusa" userId="7116ddc8-25eb-4c36-8910-62a6a26d8117" providerId="ADAL" clId="{F01262E5-779F-4BC4-856F-124F5B50F332}" dt="2019-12-16T09:45:43.729" v="616" actId="20577"/>
        <pc:sldMkLst>
          <pc:docMk/>
          <pc:sldMk cId="1038236211" sldId="256"/>
        </pc:sldMkLst>
        <pc:spChg chg="mod">
          <ac:chgData name="Maurizio Ragusa" userId="7116ddc8-25eb-4c36-8910-62a6a26d8117" providerId="ADAL" clId="{F01262E5-779F-4BC4-856F-124F5B50F332}" dt="2019-12-16T09:45:35.588" v="614" actId="20577"/>
          <ac:spMkLst>
            <pc:docMk/>
            <pc:sldMk cId="1038236211" sldId="256"/>
            <ac:spMk id="12" creationId="{4A34DA86-8EEE-144F-84D6-C02ABDD1D912}"/>
          </ac:spMkLst>
        </pc:spChg>
        <pc:spChg chg="mod">
          <ac:chgData name="Maurizio Ragusa" userId="7116ddc8-25eb-4c36-8910-62a6a26d8117" providerId="ADAL" clId="{F01262E5-779F-4BC4-856F-124F5B50F332}" dt="2019-12-16T09:45:43.729" v="616" actId="20577"/>
          <ac:spMkLst>
            <pc:docMk/>
            <pc:sldMk cId="1038236211" sldId="256"/>
            <ac:spMk id="14" creationId="{7E8BE347-D6F4-9846-991E-C390F9F284F6}"/>
          </ac:spMkLst>
        </pc:spChg>
      </pc:sldChg>
      <pc:sldChg chg="addSp delSp modSp del ord modAnim">
        <pc:chgData name="Maurizio Ragusa" userId="7116ddc8-25eb-4c36-8910-62a6a26d8117" providerId="ADAL" clId="{F01262E5-779F-4BC4-856F-124F5B50F332}" dt="2019-12-17T11:02:26.587" v="7636"/>
        <pc:sldMkLst>
          <pc:docMk/>
          <pc:sldMk cId="0" sldId="257"/>
        </pc:sldMkLst>
        <pc:spChg chg="mod">
          <ac:chgData name="Maurizio Ragusa" userId="7116ddc8-25eb-4c36-8910-62a6a26d8117" providerId="ADAL" clId="{F01262E5-779F-4BC4-856F-124F5B50F332}" dt="2019-12-17T10:23:04.680" v="6643" actId="20577"/>
          <ac:spMkLst>
            <pc:docMk/>
            <pc:sldMk cId="0" sldId="257"/>
            <ac:spMk id="2" creationId="{00000000-0000-0000-0000-000000000000}"/>
          </ac:spMkLst>
        </pc:spChg>
        <pc:spChg chg="add del mod">
          <ac:chgData name="Maurizio Ragusa" userId="7116ddc8-25eb-4c36-8910-62a6a26d8117" providerId="ADAL" clId="{F01262E5-779F-4BC4-856F-124F5B50F332}" dt="2019-12-16T10:00:48.373" v="1122" actId="11529"/>
          <ac:spMkLst>
            <pc:docMk/>
            <pc:sldMk cId="0" sldId="257"/>
            <ac:spMk id="4" creationId="{2DB64C38-27FF-4DFA-82AE-07E586B0D742}"/>
          </ac:spMkLst>
        </pc:spChg>
        <pc:spChg chg="add mod">
          <ac:chgData name="Maurizio Ragusa" userId="7116ddc8-25eb-4c36-8910-62a6a26d8117" providerId="ADAL" clId="{F01262E5-779F-4BC4-856F-124F5B50F332}" dt="2019-12-17T10:57:56.386" v="7631" actId="1076"/>
          <ac:spMkLst>
            <pc:docMk/>
            <pc:sldMk cId="0" sldId="257"/>
            <ac:spMk id="5" creationId="{595D301D-8D9C-4C7E-8BC0-DEC0C7DB6ABA}"/>
          </ac:spMkLst>
        </pc:spChg>
        <pc:spChg chg="mod">
          <ac:chgData name="Maurizio Ragusa" userId="7116ddc8-25eb-4c36-8910-62a6a26d8117" providerId="ADAL" clId="{F01262E5-779F-4BC4-856F-124F5B50F332}" dt="2019-12-16T16:25:45.477" v="6492" actId="1076"/>
          <ac:spMkLst>
            <pc:docMk/>
            <pc:sldMk cId="0" sldId="257"/>
            <ac:spMk id="7" creationId="{00000000-0000-0000-0000-000000000000}"/>
          </ac:spMkLst>
        </pc:spChg>
        <pc:spChg chg="mod">
          <ac:chgData name="Maurizio Ragusa" userId="7116ddc8-25eb-4c36-8910-62a6a26d8117" providerId="ADAL" clId="{F01262E5-779F-4BC4-856F-124F5B50F332}" dt="2019-12-16T16:25:39.047" v="6490" actId="1076"/>
          <ac:spMkLst>
            <pc:docMk/>
            <pc:sldMk cId="0" sldId="257"/>
            <ac:spMk id="8" creationId="{00000000-0000-0000-0000-000000000000}"/>
          </ac:spMkLst>
        </pc:spChg>
        <pc:spChg chg="add mod">
          <ac:chgData name="Maurizio Ragusa" userId="7116ddc8-25eb-4c36-8910-62a6a26d8117" providerId="ADAL" clId="{F01262E5-779F-4BC4-856F-124F5B50F332}" dt="2019-12-16T16:01:46.870" v="6365" actId="1076"/>
          <ac:spMkLst>
            <pc:docMk/>
            <pc:sldMk cId="0" sldId="257"/>
            <ac:spMk id="9" creationId="{3CDC2609-4208-477E-A63F-FD8CE3938AC8}"/>
          </ac:spMkLst>
        </pc:spChg>
        <pc:spChg chg="del">
          <ac:chgData name="Maurizio Ragusa" userId="7116ddc8-25eb-4c36-8910-62a6a26d8117" providerId="ADAL" clId="{F01262E5-779F-4BC4-856F-124F5B50F332}" dt="2019-12-17T10:57:43.477" v="7630" actId="478"/>
          <ac:spMkLst>
            <pc:docMk/>
            <pc:sldMk cId="0" sldId="257"/>
            <ac:spMk id="6145" creationId="{00000000-0000-0000-0000-000000000000}"/>
          </ac:spMkLst>
        </pc:spChg>
        <pc:grpChg chg="mod">
          <ac:chgData name="Maurizio Ragusa" userId="7116ddc8-25eb-4c36-8910-62a6a26d8117" providerId="ADAL" clId="{F01262E5-779F-4BC4-856F-124F5B50F332}" dt="2019-12-16T16:25:45.477" v="6492" actId="1076"/>
          <ac:grpSpMkLst>
            <pc:docMk/>
            <pc:sldMk cId="0" sldId="257"/>
            <ac:grpSpMk id="3" creationId="{00000000-0000-0000-0000-000000000000}"/>
          </ac:grpSpMkLst>
        </pc:grpChg>
      </pc:sldChg>
      <pc:sldChg chg="addSp delSp modSp mod">
        <pc:chgData name="Maurizio Ragusa" userId="7116ddc8-25eb-4c36-8910-62a6a26d8117" providerId="ADAL" clId="{F01262E5-779F-4BC4-856F-124F5B50F332}" dt="2019-12-17T10:29:47.113" v="6848" actId="113"/>
        <pc:sldMkLst>
          <pc:docMk/>
          <pc:sldMk cId="2707818017" sldId="277"/>
        </pc:sldMkLst>
        <pc:spChg chg="mod">
          <ac:chgData name="Maurizio Ragusa" userId="7116ddc8-25eb-4c36-8910-62a6a26d8117" providerId="ADAL" clId="{F01262E5-779F-4BC4-856F-124F5B50F332}" dt="2019-12-17T10:26:10.763" v="6692" actId="20577"/>
          <ac:spMkLst>
            <pc:docMk/>
            <pc:sldMk cId="2707818017" sldId="277"/>
            <ac:spMk id="2" creationId="{80EBBC62-AAE0-C043-8FD5-F9C969FA1A7C}"/>
          </ac:spMkLst>
        </pc:spChg>
        <pc:spChg chg="add del">
          <ac:chgData name="Maurizio Ragusa" userId="7116ddc8-25eb-4c36-8910-62a6a26d8117" providerId="ADAL" clId="{F01262E5-779F-4BC4-856F-124F5B50F332}" dt="2019-12-10T09:36:36.407" v="96"/>
          <ac:spMkLst>
            <pc:docMk/>
            <pc:sldMk cId="2707818017" sldId="277"/>
            <ac:spMk id="3" creationId="{2865A165-54AE-4A5F-8E7C-22F653BF7952}"/>
          </ac:spMkLst>
        </pc:spChg>
        <pc:spChg chg="add del mod">
          <ac:chgData name="Maurizio Ragusa" userId="7116ddc8-25eb-4c36-8910-62a6a26d8117" providerId="ADAL" clId="{F01262E5-779F-4BC4-856F-124F5B50F332}" dt="2019-12-16T10:44:42.367" v="1691" actId="11529"/>
          <ac:spMkLst>
            <pc:docMk/>
            <pc:sldMk cId="2707818017" sldId="277"/>
            <ac:spMk id="5" creationId="{E0915B84-5B7D-497C-8363-1BC3ECC9CEB0}"/>
          </ac:spMkLst>
        </pc:spChg>
        <pc:spChg chg="add mod">
          <ac:chgData name="Maurizio Ragusa" userId="7116ddc8-25eb-4c36-8910-62a6a26d8117" providerId="ADAL" clId="{F01262E5-779F-4BC4-856F-124F5B50F332}" dt="2019-12-17T10:29:47.113" v="6848" actId="113"/>
          <ac:spMkLst>
            <pc:docMk/>
            <pc:sldMk cId="2707818017" sldId="277"/>
            <ac:spMk id="6" creationId="{E2A5D705-0EF4-4C29-9B15-0C68C73A5178}"/>
          </ac:spMkLst>
        </pc:spChg>
        <pc:spChg chg="add del mod">
          <ac:chgData name="Maurizio Ragusa" userId="7116ddc8-25eb-4c36-8910-62a6a26d8117" providerId="ADAL" clId="{F01262E5-779F-4BC4-856F-124F5B50F332}" dt="2019-12-16T10:46:38.525" v="1747" actId="478"/>
          <ac:spMkLst>
            <pc:docMk/>
            <pc:sldMk cId="2707818017" sldId="277"/>
            <ac:spMk id="9" creationId="{9D963633-4F47-4B66-880D-2FEAB1C106EA}"/>
          </ac:spMkLst>
        </pc:spChg>
        <pc:spChg chg="add del">
          <ac:chgData name="Maurizio Ragusa" userId="7116ddc8-25eb-4c36-8910-62a6a26d8117" providerId="ADAL" clId="{F01262E5-779F-4BC4-856F-124F5B50F332}" dt="2019-12-16T10:58:01.062" v="2014"/>
          <ac:spMkLst>
            <pc:docMk/>
            <pc:sldMk cId="2707818017" sldId="277"/>
            <ac:spMk id="10" creationId="{C28D8F06-DD6D-4802-B849-8629F8BB0548}"/>
          </ac:spMkLst>
        </pc:spChg>
        <pc:spChg chg="del mod">
          <ac:chgData name="Maurizio Ragusa" userId="7116ddc8-25eb-4c36-8910-62a6a26d8117" providerId="ADAL" clId="{F01262E5-779F-4BC4-856F-124F5B50F332}" dt="2019-12-16T10:38:11.190" v="1682" actId="478"/>
          <ac:spMkLst>
            <pc:docMk/>
            <pc:sldMk cId="2707818017" sldId="277"/>
            <ac:spMk id="11" creationId="{4D484BC6-55BB-0847-AA19-597391558FA9}"/>
          </ac:spMkLst>
        </pc:spChg>
        <pc:spChg chg="add mod">
          <ac:chgData name="Maurizio Ragusa" userId="7116ddc8-25eb-4c36-8910-62a6a26d8117" providerId="ADAL" clId="{F01262E5-779F-4BC4-856F-124F5B50F332}" dt="2019-12-17T10:27:24.781" v="6739" actId="113"/>
          <ac:spMkLst>
            <pc:docMk/>
            <pc:sldMk cId="2707818017" sldId="277"/>
            <ac:spMk id="12" creationId="{16209471-03A3-45EC-A556-224BF1B08846}"/>
          </ac:spMkLst>
        </pc:spChg>
        <pc:spChg chg="del">
          <ac:chgData name="Maurizio Ragusa" userId="7116ddc8-25eb-4c36-8910-62a6a26d8117" providerId="ADAL" clId="{F01262E5-779F-4BC4-856F-124F5B50F332}" dt="2019-12-10T09:35:29.810" v="93" actId="478"/>
          <ac:spMkLst>
            <pc:docMk/>
            <pc:sldMk cId="2707818017" sldId="277"/>
            <ac:spMk id="24" creationId="{439B619F-BEA4-466B-87E6-E67556B4833E}"/>
          </ac:spMkLst>
        </pc:spChg>
        <pc:spChg chg="del">
          <ac:chgData name="Maurizio Ragusa" userId="7116ddc8-25eb-4c36-8910-62a6a26d8117" providerId="ADAL" clId="{F01262E5-779F-4BC4-856F-124F5B50F332}" dt="2019-12-10T09:35:28.552" v="92" actId="478"/>
          <ac:spMkLst>
            <pc:docMk/>
            <pc:sldMk cId="2707818017" sldId="277"/>
            <ac:spMk id="25" creationId="{AD782967-040E-44C8-9B8D-14E6C9A7B4C2}"/>
          </ac:spMkLst>
        </pc:spChg>
        <pc:graphicFrameChg chg="add del mod">
          <ac:chgData name="Maurizio Ragusa" userId="7116ddc8-25eb-4c36-8910-62a6a26d8117" providerId="ADAL" clId="{F01262E5-779F-4BC4-856F-124F5B50F332}" dt="2019-12-16T10:38:05.946" v="1680" actId="478"/>
          <ac:graphicFrameMkLst>
            <pc:docMk/>
            <pc:sldMk cId="2707818017" sldId="277"/>
            <ac:graphicFrameMk id="8" creationId="{153B3BEF-061D-48B4-AA90-EA8A939DB32F}"/>
          </ac:graphicFrameMkLst>
        </pc:graphicFrameChg>
        <pc:graphicFrameChg chg="del">
          <ac:chgData name="Maurizio Ragusa" userId="7116ddc8-25eb-4c36-8910-62a6a26d8117" providerId="ADAL" clId="{F01262E5-779F-4BC4-856F-124F5B50F332}" dt="2019-12-10T09:36:30.247" v="94" actId="478"/>
          <ac:graphicFrameMkLst>
            <pc:docMk/>
            <pc:sldMk cId="2707818017" sldId="277"/>
            <ac:graphicFrameMk id="21" creationId="{84A84970-0745-4237-82D3-A30FBBA2E0E4}"/>
          </ac:graphicFrameMkLst>
        </pc:graphicFrameChg>
        <pc:picChg chg="add del mod">
          <ac:chgData name="Maurizio Ragusa" userId="7116ddc8-25eb-4c36-8910-62a6a26d8117" providerId="ADAL" clId="{F01262E5-779F-4BC4-856F-124F5B50F332}" dt="2019-12-17T08:55:30.692" v="6520" actId="478"/>
          <ac:picMkLst>
            <pc:docMk/>
            <pc:sldMk cId="2707818017" sldId="277"/>
            <ac:picMk id="4" creationId="{C48F27BF-1D96-47B8-B5EE-D8234B0D1970}"/>
          </ac:picMkLst>
        </pc:picChg>
        <pc:picChg chg="add mod ord">
          <ac:chgData name="Maurizio Ragusa" userId="7116ddc8-25eb-4c36-8910-62a6a26d8117" providerId="ADAL" clId="{F01262E5-779F-4BC4-856F-124F5B50F332}" dt="2019-12-17T08:58:04.944" v="6539" actId="1076"/>
          <ac:picMkLst>
            <pc:docMk/>
            <pc:sldMk cId="2707818017" sldId="277"/>
            <ac:picMk id="5" creationId="{62ECE24C-493F-47B8-AEEA-9DDD38D49EE6}"/>
          </ac:picMkLst>
        </pc:picChg>
        <pc:picChg chg="add mod ord">
          <ac:chgData name="Maurizio Ragusa" userId="7116ddc8-25eb-4c36-8910-62a6a26d8117" providerId="ADAL" clId="{F01262E5-779F-4BC4-856F-124F5B50F332}" dt="2019-12-17T08:57:01.043" v="6538" actId="1076"/>
          <ac:picMkLst>
            <pc:docMk/>
            <pc:sldMk cId="2707818017" sldId="277"/>
            <ac:picMk id="8" creationId="{8DD0A495-F870-45FF-B9A3-E2B191534CAC}"/>
          </ac:picMkLst>
        </pc:picChg>
      </pc:sldChg>
      <pc:sldChg chg="addSp delSp modSp mod">
        <pc:chgData name="Maurizio Ragusa" userId="7116ddc8-25eb-4c36-8910-62a6a26d8117" providerId="ADAL" clId="{F01262E5-779F-4BC4-856F-124F5B50F332}" dt="2019-12-17T10:40:50.835" v="7304" actId="313"/>
        <pc:sldMkLst>
          <pc:docMk/>
          <pc:sldMk cId="3803233554" sldId="278"/>
        </pc:sldMkLst>
        <pc:spChg chg="add del mod">
          <ac:chgData name="Maurizio Ragusa" userId="7116ddc8-25eb-4c36-8910-62a6a26d8117" providerId="ADAL" clId="{F01262E5-779F-4BC4-856F-124F5B50F332}" dt="2019-12-17T09:28:43.812" v="6546" actId="478"/>
          <ac:spMkLst>
            <pc:docMk/>
            <pc:sldMk cId="3803233554" sldId="278"/>
            <ac:spMk id="2" creationId="{80EBBC62-AAE0-C043-8FD5-F9C969FA1A7C}"/>
          </ac:spMkLst>
        </pc:spChg>
        <pc:spChg chg="add del mod">
          <ac:chgData name="Maurizio Ragusa" userId="7116ddc8-25eb-4c36-8910-62a6a26d8117" providerId="ADAL" clId="{F01262E5-779F-4BC4-856F-124F5B50F332}" dt="2019-12-10T10:35:21.116" v="543" actId="478"/>
          <ac:spMkLst>
            <pc:docMk/>
            <pc:sldMk cId="3803233554" sldId="278"/>
            <ac:spMk id="3" creationId="{86D28E9D-4F6D-43A9-829B-CE91BCEE8998}"/>
          </ac:spMkLst>
        </pc:spChg>
        <pc:spChg chg="add del mod">
          <ac:chgData name="Maurizio Ragusa" userId="7116ddc8-25eb-4c36-8910-62a6a26d8117" providerId="ADAL" clId="{F01262E5-779F-4BC4-856F-124F5B50F332}" dt="2019-12-16T11:16:03.797" v="2456" actId="478"/>
          <ac:spMkLst>
            <pc:docMk/>
            <pc:sldMk cId="3803233554" sldId="278"/>
            <ac:spMk id="4" creationId="{5ECFB545-9C48-43BD-B280-274A264E0955}"/>
          </ac:spMkLst>
        </pc:spChg>
        <pc:spChg chg="add del mod">
          <ac:chgData name="Maurizio Ragusa" userId="7116ddc8-25eb-4c36-8910-62a6a26d8117" providerId="ADAL" clId="{F01262E5-779F-4BC4-856F-124F5B50F332}" dt="2019-12-17T09:28:39.385" v="6545" actId="478"/>
          <ac:spMkLst>
            <pc:docMk/>
            <pc:sldMk cId="3803233554" sldId="278"/>
            <ac:spMk id="4" creationId="{93D99048-C1E7-4DFF-BF00-C4E50DCDEFDC}"/>
          </ac:spMkLst>
        </pc:spChg>
        <pc:spChg chg="add del">
          <ac:chgData name="Maurizio Ragusa" userId="7116ddc8-25eb-4c36-8910-62a6a26d8117" providerId="ADAL" clId="{F01262E5-779F-4BC4-856F-124F5B50F332}" dt="2019-12-17T09:28:31.125" v="6541"/>
          <ac:spMkLst>
            <pc:docMk/>
            <pc:sldMk cId="3803233554" sldId="278"/>
            <ac:spMk id="6" creationId="{BE023A76-563C-404F-A930-CA49AF54102D}"/>
          </ac:spMkLst>
        </pc:spChg>
        <pc:spChg chg="add del mod">
          <ac:chgData name="Maurizio Ragusa" userId="7116ddc8-25eb-4c36-8910-62a6a26d8117" providerId="ADAL" clId="{F01262E5-779F-4BC4-856F-124F5B50F332}" dt="2019-12-17T09:28:46.046" v="6547" actId="478"/>
          <ac:spMkLst>
            <pc:docMk/>
            <pc:sldMk cId="3803233554" sldId="278"/>
            <ac:spMk id="7" creationId="{FCB017C3-DE7B-4792-9BB0-CB5F072F53B9}"/>
          </ac:spMkLst>
        </pc:spChg>
        <pc:spChg chg="add del mod">
          <ac:chgData name="Maurizio Ragusa" userId="7116ddc8-25eb-4c36-8910-62a6a26d8117" providerId="ADAL" clId="{F01262E5-779F-4BC4-856F-124F5B50F332}" dt="2019-12-17T10:35:46.105" v="7075"/>
          <ac:spMkLst>
            <pc:docMk/>
            <pc:sldMk cId="3803233554" sldId="278"/>
            <ac:spMk id="8" creationId="{1FCE8F65-2859-4049-AE68-B02599D69FD6}"/>
          </ac:spMkLst>
        </pc:spChg>
        <pc:spChg chg="add del">
          <ac:chgData name="Maurizio Ragusa" userId="7116ddc8-25eb-4c36-8910-62a6a26d8117" providerId="ADAL" clId="{F01262E5-779F-4BC4-856F-124F5B50F332}" dt="2019-12-17T09:28:38.654" v="6544"/>
          <ac:spMkLst>
            <pc:docMk/>
            <pc:sldMk cId="3803233554" sldId="278"/>
            <ac:spMk id="9" creationId="{0F64BE74-D4F3-4253-BD1A-F4150ED45365}"/>
          </ac:spMkLst>
        </pc:spChg>
        <pc:spChg chg="add del mod">
          <ac:chgData name="Maurizio Ragusa" userId="7116ddc8-25eb-4c36-8910-62a6a26d8117" providerId="ADAL" clId="{F01262E5-779F-4BC4-856F-124F5B50F332}" dt="2019-12-16T11:16:03.797" v="2456" actId="478"/>
          <ac:spMkLst>
            <pc:docMk/>
            <pc:sldMk cId="3803233554" sldId="278"/>
            <ac:spMk id="9" creationId="{823362F3-DDB3-49A4-841B-AEBA99D0D47D}"/>
          </ac:spMkLst>
        </pc:spChg>
        <pc:spChg chg="add mod">
          <ac:chgData name="Maurizio Ragusa" userId="7116ddc8-25eb-4c36-8910-62a6a26d8117" providerId="ADAL" clId="{F01262E5-779F-4BC4-856F-124F5B50F332}" dt="2019-12-17T10:35:44.460" v="7073" actId="20577"/>
          <ac:spMkLst>
            <pc:docMk/>
            <pc:sldMk cId="3803233554" sldId="278"/>
            <ac:spMk id="10" creationId="{5760ADFA-B907-488C-B61D-C95782C10DE5}"/>
          </ac:spMkLst>
        </pc:spChg>
        <pc:spChg chg="del mod">
          <ac:chgData name="Maurizio Ragusa" userId="7116ddc8-25eb-4c36-8910-62a6a26d8117" providerId="ADAL" clId="{F01262E5-779F-4BC4-856F-124F5B50F332}" dt="2019-12-16T11:24:59.353" v="2500" actId="478"/>
          <ac:spMkLst>
            <pc:docMk/>
            <pc:sldMk cId="3803233554" sldId="278"/>
            <ac:spMk id="11" creationId="{4D484BC6-55BB-0847-AA19-597391558FA9}"/>
          </ac:spMkLst>
        </pc:spChg>
        <pc:spChg chg="add mod">
          <ac:chgData name="Maurizio Ragusa" userId="7116ddc8-25eb-4c36-8910-62a6a26d8117" providerId="ADAL" clId="{F01262E5-779F-4BC4-856F-124F5B50F332}" dt="2019-12-17T10:40:50.835" v="7304" actId="313"/>
          <ac:spMkLst>
            <pc:docMk/>
            <pc:sldMk cId="3803233554" sldId="278"/>
            <ac:spMk id="12" creationId="{A2638C39-761E-42AE-9EC5-B3A022F2ACBE}"/>
          </ac:spMkLst>
        </pc:spChg>
        <pc:spChg chg="add mod">
          <ac:chgData name="Maurizio Ragusa" userId="7116ddc8-25eb-4c36-8910-62a6a26d8117" providerId="ADAL" clId="{F01262E5-779F-4BC4-856F-124F5B50F332}" dt="2019-12-17T10:36:38.670" v="7106" actId="1076"/>
          <ac:spMkLst>
            <pc:docMk/>
            <pc:sldMk cId="3803233554" sldId="278"/>
            <ac:spMk id="14" creationId="{B1F082F7-017B-4523-885A-BB49638DF21A}"/>
          </ac:spMkLst>
        </pc:spChg>
        <pc:spChg chg="add mod">
          <ac:chgData name="Maurizio Ragusa" userId="7116ddc8-25eb-4c36-8910-62a6a26d8117" providerId="ADAL" clId="{F01262E5-779F-4BC4-856F-124F5B50F332}" dt="2019-12-17T10:40:02.498" v="7272" actId="20577"/>
          <ac:spMkLst>
            <pc:docMk/>
            <pc:sldMk cId="3803233554" sldId="278"/>
            <ac:spMk id="16" creationId="{571C0F42-A1F0-46EA-AD34-68232B1AFFDC}"/>
          </ac:spMkLst>
        </pc:spChg>
        <pc:spChg chg="add del mod">
          <ac:chgData name="Maurizio Ragusa" userId="7116ddc8-25eb-4c36-8910-62a6a26d8117" providerId="ADAL" clId="{F01262E5-779F-4BC4-856F-124F5B50F332}" dt="2019-12-16T11:47:13.322" v="3198" actId="478"/>
          <ac:spMkLst>
            <pc:docMk/>
            <pc:sldMk cId="3803233554" sldId="278"/>
            <ac:spMk id="17" creationId="{049359D4-43E7-4869-A1C2-481FED44B52A}"/>
          </ac:spMkLst>
        </pc:spChg>
        <pc:spChg chg="del">
          <ac:chgData name="Maurizio Ragusa" userId="7116ddc8-25eb-4c36-8910-62a6a26d8117" providerId="ADAL" clId="{F01262E5-779F-4BC4-856F-124F5B50F332}" dt="2019-12-10T09:38:22.563" v="108" actId="478"/>
          <ac:spMkLst>
            <pc:docMk/>
            <pc:sldMk cId="3803233554" sldId="278"/>
            <ac:spMk id="24" creationId="{439B619F-BEA4-466B-87E6-E67556B4833E}"/>
          </ac:spMkLst>
        </pc:spChg>
        <pc:spChg chg="del">
          <ac:chgData name="Maurizio Ragusa" userId="7116ddc8-25eb-4c36-8910-62a6a26d8117" providerId="ADAL" clId="{F01262E5-779F-4BC4-856F-124F5B50F332}" dt="2019-12-10T09:38:21.044" v="107" actId="478"/>
          <ac:spMkLst>
            <pc:docMk/>
            <pc:sldMk cId="3803233554" sldId="278"/>
            <ac:spMk id="25" creationId="{AD782967-040E-44C8-9B8D-14E6C9A7B4C2}"/>
          </ac:spMkLst>
        </pc:spChg>
        <pc:graphicFrameChg chg="add del mod">
          <ac:chgData name="Maurizio Ragusa" userId="7116ddc8-25eb-4c36-8910-62a6a26d8117" providerId="ADAL" clId="{F01262E5-779F-4BC4-856F-124F5B50F332}" dt="2019-12-16T11:16:12.911" v="2458" actId="478"/>
          <ac:graphicFrameMkLst>
            <pc:docMk/>
            <pc:sldMk cId="3803233554" sldId="278"/>
            <ac:graphicFrameMk id="7" creationId="{7DB6F140-EBCB-40E6-931F-0714752987E4}"/>
          </ac:graphicFrameMkLst>
        </pc:graphicFrameChg>
        <pc:graphicFrameChg chg="add del mod">
          <ac:chgData name="Maurizio Ragusa" userId="7116ddc8-25eb-4c36-8910-62a6a26d8117" providerId="ADAL" clId="{F01262E5-779F-4BC4-856F-124F5B50F332}" dt="2019-12-16T11:16:10.272" v="2457" actId="478"/>
          <ac:graphicFrameMkLst>
            <pc:docMk/>
            <pc:sldMk cId="3803233554" sldId="278"/>
            <ac:graphicFrameMk id="8" creationId="{5E8A7ACE-0D9C-4CF1-BD18-C4924F2E35E7}"/>
          </ac:graphicFrameMkLst>
        </pc:graphicFrameChg>
        <pc:graphicFrameChg chg="del">
          <ac:chgData name="Maurizio Ragusa" userId="7116ddc8-25eb-4c36-8910-62a6a26d8117" providerId="ADAL" clId="{F01262E5-779F-4BC4-856F-124F5B50F332}" dt="2019-12-10T09:38:19.550" v="106" actId="478"/>
          <ac:graphicFrameMkLst>
            <pc:docMk/>
            <pc:sldMk cId="3803233554" sldId="278"/>
            <ac:graphicFrameMk id="13" creationId="{D4872CA0-765F-443B-8D2B-300F0C6FD1FB}"/>
          </ac:graphicFrameMkLst>
        </pc:graphicFrameChg>
        <pc:picChg chg="add del mod">
          <ac:chgData name="Maurizio Ragusa" userId="7116ddc8-25eb-4c36-8910-62a6a26d8117" providerId="ADAL" clId="{F01262E5-779F-4BC4-856F-124F5B50F332}" dt="2019-12-16T11:33:59.744" v="2666" actId="478"/>
          <ac:picMkLst>
            <pc:docMk/>
            <pc:sldMk cId="3803233554" sldId="278"/>
            <ac:picMk id="5" creationId="{DF5797E5-53F2-4709-BF8F-51AEDFAA3898}"/>
          </ac:picMkLst>
        </pc:picChg>
        <pc:picChg chg="add del mod">
          <ac:chgData name="Maurizio Ragusa" userId="7116ddc8-25eb-4c36-8910-62a6a26d8117" providerId="ADAL" clId="{F01262E5-779F-4BC4-856F-124F5B50F332}" dt="2019-12-16T11:35:42.269" v="2679" actId="478"/>
          <ac:picMkLst>
            <pc:docMk/>
            <pc:sldMk cId="3803233554" sldId="278"/>
            <ac:picMk id="13" creationId="{B1B36A43-1F4F-4444-A2A2-71137054844F}"/>
          </ac:picMkLst>
        </pc:picChg>
        <pc:picChg chg="add mod">
          <ac:chgData name="Maurizio Ragusa" userId="7116ddc8-25eb-4c36-8910-62a6a26d8117" providerId="ADAL" clId="{F01262E5-779F-4BC4-856F-124F5B50F332}" dt="2019-12-16T16:03:21.064" v="6376" actId="1076"/>
          <ac:picMkLst>
            <pc:docMk/>
            <pc:sldMk cId="3803233554" sldId="278"/>
            <ac:picMk id="15" creationId="{76C0FAEB-8C82-4F76-92C1-5FB04E0ADCB0}"/>
          </ac:picMkLst>
        </pc:picChg>
        <pc:cxnChg chg="add del mod">
          <ac:chgData name="Maurizio Ragusa" userId="7116ddc8-25eb-4c36-8910-62a6a26d8117" providerId="ADAL" clId="{F01262E5-779F-4BC4-856F-124F5B50F332}" dt="2019-12-16T11:16:03.797" v="2456" actId="478"/>
          <ac:cxnSpMkLst>
            <pc:docMk/>
            <pc:sldMk cId="3803233554" sldId="278"/>
            <ac:cxnSpMk id="6" creationId="{550E2E7E-04B0-4AE2-8181-E3270F1C7416}"/>
          </ac:cxnSpMkLst>
        </pc:cxnChg>
      </pc:sldChg>
      <pc:sldChg chg="modSp del ord">
        <pc:chgData name="Maurizio Ragusa" userId="7116ddc8-25eb-4c36-8910-62a6a26d8117" providerId="ADAL" clId="{F01262E5-779F-4BC4-856F-124F5B50F332}" dt="2019-12-10T09:49:28.423" v="308" actId="2696"/>
        <pc:sldMkLst>
          <pc:docMk/>
          <pc:sldMk cId="3895196398" sldId="279"/>
        </pc:sldMkLst>
        <pc:spChg chg="mod">
          <ac:chgData name="Maurizio Ragusa" userId="7116ddc8-25eb-4c36-8910-62a6a26d8117" providerId="ADAL" clId="{F01262E5-779F-4BC4-856F-124F5B50F332}" dt="2019-07-24T14:53:04.527" v="1" actId="20577"/>
          <ac:spMkLst>
            <pc:docMk/>
            <pc:sldMk cId="3895196398" sldId="279"/>
            <ac:spMk id="25" creationId="{AD782967-040E-44C8-9B8D-14E6C9A7B4C2}"/>
          </ac:spMkLst>
        </pc:spChg>
      </pc:sldChg>
      <pc:sldChg chg="del">
        <pc:chgData name="Maurizio Ragusa" userId="7116ddc8-25eb-4c36-8910-62a6a26d8117" providerId="ADAL" clId="{F01262E5-779F-4BC4-856F-124F5B50F332}" dt="2019-12-10T10:01:23.165" v="383" actId="2696"/>
        <pc:sldMkLst>
          <pc:docMk/>
          <pc:sldMk cId="2775937926" sldId="280"/>
        </pc:sldMkLst>
      </pc:sldChg>
      <pc:sldChg chg="addSp delSp modSp add mod">
        <pc:chgData name="Maurizio Ragusa" userId="7116ddc8-25eb-4c36-8910-62a6a26d8117" providerId="ADAL" clId="{F01262E5-779F-4BC4-856F-124F5B50F332}" dt="2019-12-17T10:47:54.035" v="7616" actId="1076"/>
        <pc:sldMkLst>
          <pc:docMk/>
          <pc:sldMk cId="4039177408" sldId="281"/>
        </pc:sldMkLst>
        <pc:spChg chg="mod">
          <ac:chgData name="Maurizio Ragusa" userId="7116ddc8-25eb-4c36-8910-62a6a26d8117" providerId="ADAL" clId="{F01262E5-779F-4BC4-856F-124F5B50F332}" dt="2019-12-17T10:41:40.329" v="7328" actId="20577"/>
          <ac:spMkLst>
            <pc:docMk/>
            <pc:sldMk cId="4039177408" sldId="281"/>
            <ac:spMk id="2" creationId="{80EBBC62-AAE0-C043-8FD5-F9C969FA1A7C}"/>
          </ac:spMkLst>
        </pc:spChg>
        <pc:spChg chg="add mod">
          <ac:chgData name="Maurizio Ragusa" userId="7116ddc8-25eb-4c36-8910-62a6a26d8117" providerId="ADAL" clId="{F01262E5-779F-4BC4-856F-124F5B50F332}" dt="2019-12-17T10:44:05.054" v="7334" actId="208"/>
          <ac:spMkLst>
            <pc:docMk/>
            <pc:sldMk cId="4039177408" sldId="281"/>
            <ac:spMk id="3" creationId="{E8C2B288-440D-4D4D-AF8E-79DE167EE88B}"/>
          </ac:spMkLst>
        </pc:spChg>
        <pc:spChg chg="add mod">
          <ac:chgData name="Maurizio Ragusa" userId="7116ddc8-25eb-4c36-8910-62a6a26d8117" providerId="ADAL" clId="{F01262E5-779F-4BC4-856F-124F5B50F332}" dt="2019-12-17T10:39:05.838" v="7175" actId="20577"/>
          <ac:spMkLst>
            <pc:docMk/>
            <pc:sldMk cId="4039177408" sldId="281"/>
            <ac:spMk id="6" creationId="{546566D4-2992-47B5-AD24-5201FFE5FBEE}"/>
          </ac:spMkLst>
        </pc:spChg>
        <pc:spChg chg="add mod">
          <ac:chgData name="Maurizio Ragusa" userId="7116ddc8-25eb-4c36-8910-62a6a26d8117" providerId="ADAL" clId="{F01262E5-779F-4BC4-856F-124F5B50F332}" dt="2019-12-17T10:47:54.035" v="7616" actId="1076"/>
          <ac:spMkLst>
            <pc:docMk/>
            <pc:sldMk cId="4039177408" sldId="281"/>
            <ac:spMk id="7" creationId="{632F1838-BFA5-4E6D-9820-BFFA74B654B0}"/>
          </ac:spMkLst>
        </pc:spChg>
        <pc:spChg chg="del mod">
          <ac:chgData name="Maurizio Ragusa" userId="7116ddc8-25eb-4c36-8910-62a6a26d8117" providerId="ADAL" clId="{F01262E5-779F-4BC4-856F-124F5B50F332}" dt="2019-12-16T11:47:34.873" v="3202" actId="478"/>
          <ac:spMkLst>
            <pc:docMk/>
            <pc:sldMk cId="4039177408" sldId="281"/>
            <ac:spMk id="11" creationId="{4D484BC6-55BB-0847-AA19-597391558FA9}"/>
          </ac:spMkLst>
        </pc:spChg>
        <pc:graphicFrameChg chg="add del mod">
          <ac:chgData name="Maurizio Ragusa" userId="7116ddc8-25eb-4c36-8910-62a6a26d8117" providerId="ADAL" clId="{F01262E5-779F-4BC4-856F-124F5B50F332}" dt="2019-12-16T11:47:31.192" v="3200" actId="478"/>
          <ac:graphicFrameMkLst>
            <pc:docMk/>
            <pc:sldMk cId="4039177408" sldId="281"/>
            <ac:graphicFrameMk id="5" creationId="{50593710-64A2-42E7-8006-4DDA923F6456}"/>
          </ac:graphicFrameMkLst>
        </pc:graphicFrameChg>
        <pc:graphicFrameChg chg="del">
          <ac:chgData name="Maurizio Ragusa" userId="7116ddc8-25eb-4c36-8910-62a6a26d8117" providerId="ADAL" clId="{F01262E5-779F-4BC4-856F-124F5B50F332}" dt="2019-12-10T09:47:40.615" v="295" actId="478"/>
          <ac:graphicFrameMkLst>
            <pc:docMk/>
            <pc:sldMk cId="4039177408" sldId="281"/>
            <ac:graphicFrameMk id="8" creationId="{153B3BEF-061D-48B4-AA90-EA8A939DB32F}"/>
          </ac:graphicFrameMkLst>
        </pc:graphicFrameChg>
        <pc:picChg chg="add del mod">
          <ac:chgData name="Maurizio Ragusa" userId="7116ddc8-25eb-4c36-8910-62a6a26d8117" providerId="ADAL" clId="{F01262E5-779F-4BC4-856F-124F5B50F332}" dt="2019-12-16T16:18:17.671" v="6386" actId="478"/>
          <ac:picMkLst>
            <pc:docMk/>
            <pc:sldMk cId="4039177408" sldId="281"/>
            <ac:picMk id="4" creationId="{FB27819C-B3B8-45BB-B0AC-3C890DCCE9EC}"/>
          </ac:picMkLst>
        </pc:picChg>
        <pc:picChg chg="add del mod ord">
          <ac:chgData name="Maurizio Ragusa" userId="7116ddc8-25eb-4c36-8910-62a6a26d8117" providerId="ADAL" clId="{F01262E5-779F-4BC4-856F-124F5B50F332}" dt="2019-12-16T16:19:45.391" v="6397" actId="478"/>
          <ac:picMkLst>
            <pc:docMk/>
            <pc:sldMk cId="4039177408" sldId="281"/>
            <ac:picMk id="9" creationId="{CE3F43F0-05F3-4621-8B44-04DE0487732D}"/>
          </ac:picMkLst>
        </pc:picChg>
        <pc:picChg chg="add mod ord">
          <ac:chgData name="Maurizio Ragusa" userId="7116ddc8-25eb-4c36-8910-62a6a26d8117" providerId="ADAL" clId="{F01262E5-779F-4BC4-856F-124F5B50F332}" dt="2019-12-16T16:20:32.760" v="6411" actId="167"/>
          <ac:picMkLst>
            <pc:docMk/>
            <pc:sldMk cId="4039177408" sldId="281"/>
            <ac:picMk id="12" creationId="{E5B741B8-2EB9-4E3E-89C7-1910247B5817}"/>
          </ac:picMkLst>
        </pc:picChg>
      </pc:sldChg>
      <pc:sldChg chg="addSp delSp modSp add mod ord">
        <pc:chgData name="Maurizio Ragusa" userId="7116ddc8-25eb-4c36-8910-62a6a26d8117" providerId="ADAL" clId="{F01262E5-779F-4BC4-856F-124F5B50F332}" dt="2019-12-17T10:36:30.825" v="7104" actId="1076"/>
        <pc:sldMkLst>
          <pc:docMk/>
          <pc:sldMk cId="2835418385" sldId="282"/>
        </pc:sldMkLst>
        <pc:spChg chg="del mod">
          <ac:chgData name="Maurizio Ragusa" userId="7116ddc8-25eb-4c36-8910-62a6a26d8117" providerId="ADAL" clId="{F01262E5-779F-4BC4-856F-124F5B50F332}" dt="2019-12-16T10:57:36.795" v="2010" actId="478"/>
          <ac:spMkLst>
            <pc:docMk/>
            <pc:sldMk cId="2835418385" sldId="282"/>
            <ac:spMk id="2" creationId="{80EBBC62-AAE0-C043-8FD5-F9C969FA1A7C}"/>
          </ac:spMkLst>
        </pc:spChg>
        <pc:spChg chg="add del mod">
          <ac:chgData name="Maurizio Ragusa" userId="7116ddc8-25eb-4c36-8910-62a6a26d8117" providerId="ADAL" clId="{F01262E5-779F-4BC4-856F-124F5B50F332}" dt="2019-12-16T10:57:40.845" v="2012" actId="478"/>
          <ac:spMkLst>
            <pc:docMk/>
            <pc:sldMk cId="2835418385" sldId="282"/>
            <ac:spMk id="3" creationId="{1450AE2F-DE74-4AC5-9444-33539484F78C}"/>
          </ac:spMkLst>
        </pc:spChg>
        <pc:spChg chg="add mod">
          <ac:chgData name="Maurizio Ragusa" userId="7116ddc8-25eb-4c36-8910-62a6a26d8117" providerId="ADAL" clId="{F01262E5-779F-4BC4-856F-124F5B50F332}" dt="2019-12-17T10:30:20.231" v="6870" actId="20577"/>
          <ac:spMkLst>
            <pc:docMk/>
            <pc:sldMk cId="2835418385" sldId="282"/>
            <ac:spMk id="5" creationId="{E9DFF151-027C-42B7-ABF4-958F7155DD44}"/>
          </ac:spMkLst>
        </pc:spChg>
        <pc:spChg chg="add mod">
          <ac:chgData name="Maurizio Ragusa" userId="7116ddc8-25eb-4c36-8910-62a6a26d8117" providerId="ADAL" clId="{F01262E5-779F-4BC4-856F-124F5B50F332}" dt="2019-12-17T10:36:30.825" v="7104" actId="1076"/>
          <ac:spMkLst>
            <pc:docMk/>
            <pc:sldMk cId="2835418385" sldId="282"/>
            <ac:spMk id="6" creationId="{F64F99CD-AB94-409B-AC98-3CBF14C82DDF}"/>
          </ac:spMkLst>
        </pc:spChg>
        <pc:spChg chg="add del mod">
          <ac:chgData name="Maurizio Ragusa" userId="7116ddc8-25eb-4c36-8910-62a6a26d8117" providerId="ADAL" clId="{F01262E5-779F-4BC4-856F-124F5B50F332}" dt="2019-12-16T11:05:09.416" v="2188"/>
          <ac:spMkLst>
            <pc:docMk/>
            <pc:sldMk cId="2835418385" sldId="282"/>
            <ac:spMk id="8" creationId="{A5951AB0-D528-4C46-B9D9-A28FCEB67E8C}"/>
          </ac:spMkLst>
        </pc:spChg>
        <pc:spChg chg="add mod">
          <ac:chgData name="Maurizio Ragusa" userId="7116ddc8-25eb-4c36-8910-62a6a26d8117" providerId="ADAL" clId="{F01262E5-779F-4BC4-856F-124F5B50F332}" dt="2019-12-17T10:32:35.211" v="7031" actId="20577"/>
          <ac:spMkLst>
            <pc:docMk/>
            <pc:sldMk cId="2835418385" sldId="282"/>
            <ac:spMk id="9" creationId="{E910BD76-630E-4F3E-90D7-D09074FE8045}"/>
          </ac:spMkLst>
        </pc:spChg>
        <pc:spChg chg="del mod">
          <ac:chgData name="Maurizio Ragusa" userId="7116ddc8-25eb-4c36-8910-62a6a26d8117" providerId="ADAL" clId="{F01262E5-779F-4BC4-856F-124F5B50F332}" dt="2019-12-16T11:04:51.001" v="2182" actId="478"/>
          <ac:spMkLst>
            <pc:docMk/>
            <pc:sldMk cId="2835418385" sldId="282"/>
            <ac:spMk id="11" creationId="{4D484BC6-55BB-0847-AA19-597391558FA9}"/>
          </ac:spMkLst>
        </pc:spChg>
        <pc:spChg chg="add del mod">
          <ac:chgData name="Maurizio Ragusa" userId="7116ddc8-25eb-4c36-8910-62a6a26d8117" providerId="ADAL" clId="{F01262E5-779F-4BC4-856F-124F5B50F332}" dt="2019-12-16T10:57:34.591" v="2008" actId="478"/>
          <ac:spMkLst>
            <pc:docMk/>
            <pc:sldMk cId="2835418385" sldId="282"/>
            <ac:spMk id="12" creationId="{7609E242-58C9-4AF5-90F9-579A673B7C81}"/>
          </ac:spMkLst>
        </pc:spChg>
        <pc:spChg chg="add del">
          <ac:chgData name="Maurizio Ragusa" userId="7116ddc8-25eb-4c36-8910-62a6a26d8117" providerId="ADAL" clId="{F01262E5-779F-4BC4-856F-124F5B50F332}" dt="2019-12-10T10:06:47.935" v="411"/>
          <ac:spMkLst>
            <pc:docMk/>
            <pc:sldMk cId="2835418385" sldId="282"/>
            <ac:spMk id="13" creationId="{2CCDF9D1-BE40-410F-9194-845FE3BE851B}"/>
          </ac:spMkLst>
        </pc:spChg>
        <pc:spChg chg="add del mod">
          <ac:chgData name="Maurizio Ragusa" userId="7116ddc8-25eb-4c36-8910-62a6a26d8117" providerId="ADAL" clId="{F01262E5-779F-4BC4-856F-124F5B50F332}" dt="2019-12-16T10:57:34.591" v="2008" actId="478"/>
          <ac:spMkLst>
            <pc:docMk/>
            <pc:sldMk cId="2835418385" sldId="282"/>
            <ac:spMk id="14" creationId="{9B44B34B-DAEA-4BDF-A463-71CF2A0B9BC1}"/>
          </ac:spMkLst>
        </pc:spChg>
        <pc:spChg chg="add mod">
          <ac:chgData name="Maurizio Ragusa" userId="7116ddc8-25eb-4c36-8910-62a6a26d8117" providerId="ADAL" clId="{F01262E5-779F-4BC4-856F-124F5B50F332}" dt="2019-12-17T10:35:49.818" v="7077" actId="20577"/>
          <ac:spMkLst>
            <pc:docMk/>
            <pc:sldMk cId="2835418385" sldId="282"/>
            <ac:spMk id="15" creationId="{176ED324-5643-4FC6-AB80-3D28E5ED13BB}"/>
          </ac:spMkLst>
        </pc:spChg>
        <pc:spChg chg="add del">
          <ac:chgData name="Maurizio Ragusa" userId="7116ddc8-25eb-4c36-8910-62a6a26d8117" providerId="ADAL" clId="{F01262E5-779F-4BC4-856F-124F5B50F332}" dt="2019-12-10T10:07:39.368" v="443"/>
          <ac:spMkLst>
            <pc:docMk/>
            <pc:sldMk cId="2835418385" sldId="282"/>
            <ac:spMk id="15" creationId="{89EAAF8C-EFDB-45B0-83B9-B487E78E3474}"/>
          </ac:spMkLst>
        </pc:spChg>
        <pc:spChg chg="add del mod">
          <ac:chgData name="Maurizio Ragusa" userId="7116ddc8-25eb-4c36-8910-62a6a26d8117" providerId="ADAL" clId="{F01262E5-779F-4BC4-856F-124F5B50F332}" dt="2019-12-16T10:57:40.289" v="2011" actId="478"/>
          <ac:spMkLst>
            <pc:docMk/>
            <pc:sldMk cId="2835418385" sldId="282"/>
            <ac:spMk id="16" creationId="{F70BD12F-BAEF-4779-BA68-5D46942796A7}"/>
          </ac:spMkLst>
        </pc:spChg>
        <pc:graphicFrameChg chg="del">
          <ac:chgData name="Maurizio Ragusa" userId="7116ddc8-25eb-4c36-8910-62a6a26d8117" providerId="ADAL" clId="{F01262E5-779F-4BC4-856F-124F5B50F332}" dt="2019-12-10T09:50:18.585" v="359" actId="478"/>
          <ac:graphicFrameMkLst>
            <pc:docMk/>
            <pc:sldMk cId="2835418385" sldId="282"/>
            <ac:graphicFrameMk id="5" creationId="{50593710-64A2-42E7-8006-4DDA923F6456}"/>
          </ac:graphicFrameMkLst>
        </pc:graphicFrameChg>
        <pc:graphicFrameChg chg="add del mod">
          <ac:chgData name="Maurizio Ragusa" userId="7116ddc8-25eb-4c36-8910-62a6a26d8117" providerId="ADAL" clId="{F01262E5-779F-4BC4-856F-124F5B50F332}" dt="2019-12-10T09:55:04.069" v="367" actId="478"/>
          <ac:graphicFrameMkLst>
            <pc:docMk/>
            <pc:sldMk cId="2835418385" sldId="282"/>
            <ac:graphicFrameMk id="6" creationId="{0621E25E-A4E4-4643-9E48-EDB9D021FC69}"/>
          </ac:graphicFrameMkLst>
        </pc:graphicFrameChg>
        <pc:graphicFrameChg chg="add">
          <ac:chgData name="Maurizio Ragusa" userId="7116ddc8-25eb-4c36-8910-62a6a26d8117" providerId="ADAL" clId="{F01262E5-779F-4BC4-856F-124F5B50F332}" dt="2019-12-10T09:55:10.771" v="369"/>
          <ac:graphicFrameMkLst>
            <pc:docMk/>
            <pc:sldMk cId="2835418385" sldId="282"/>
            <ac:graphicFrameMk id="7" creationId="{0621E25E-A4E4-4643-9E48-EDB9D021FC69}"/>
          </ac:graphicFrameMkLst>
        </pc:graphicFrameChg>
        <pc:graphicFrameChg chg="add del">
          <ac:chgData name="Maurizio Ragusa" userId="7116ddc8-25eb-4c36-8910-62a6a26d8117" providerId="ADAL" clId="{F01262E5-779F-4BC4-856F-124F5B50F332}" dt="2019-12-10T09:59:57.385" v="373" actId="478"/>
          <ac:graphicFrameMkLst>
            <pc:docMk/>
            <pc:sldMk cId="2835418385" sldId="282"/>
            <ac:graphicFrameMk id="8" creationId="{0621E25E-A4E4-4643-9E48-EDB9D021FC69}"/>
          </ac:graphicFrameMkLst>
        </pc:graphicFrameChg>
        <pc:graphicFrameChg chg="add del mod">
          <ac:chgData name="Maurizio Ragusa" userId="7116ddc8-25eb-4c36-8910-62a6a26d8117" providerId="ADAL" clId="{F01262E5-779F-4BC4-856F-124F5B50F332}" dt="2019-12-10T10:05:31.529" v="395" actId="478"/>
          <ac:graphicFrameMkLst>
            <pc:docMk/>
            <pc:sldMk cId="2835418385" sldId="282"/>
            <ac:graphicFrameMk id="9" creationId="{0621E25E-A4E4-4643-9E48-EDB9D021FC69}"/>
          </ac:graphicFrameMkLst>
        </pc:graphicFrameChg>
        <pc:graphicFrameChg chg="add del mod">
          <ac:chgData name="Maurizio Ragusa" userId="7116ddc8-25eb-4c36-8910-62a6a26d8117" providerId="ADAL" clId="{F01262E5-779F-4BC4-856F-124F5B50F332}" dt="2019-12-16T10:57:31.995" v="2007" actId="478"/>
          <ac:graphicFrameMkLst>
            <pc:docMk/>
            <pc:sldMk cId="2835418385" sldId="282"/>
            <ac:graphicFrameMk id="10" creationId="{C44DF11A-A5C2-436E-9F12-62B90405B29C}"/>
          </ac:graphicFrameMkLst>
        </pc:graphicFrameChg>
        <pc:picChg chg="add mod">
          <ac:chgData name="Maurizio Ragusa" userId="7116ddc8-25eb-4c36-8910-62a6a26d8117" providerId="ADAL" clId="{F01262E5-779F-4BC4-856F-124F5B50F332}" dt="2019-12-16T15:49:10.085" v="5890" actId="1076"/>
          <ac:picMkLst>
            <pc:docMk/>
            <pc:sldMk cId="2835418385" sldId="282"/>
            <ac:picMk id="7" creationId="{A574B223-EE1F-4D51-8D0C-FA5C0FC6A6A8}"/>
          </ac:picMkLst>
        </pc:picChg>
      </pc:sldChg>
      <pc:sldChg chg="addSp delSp modSp add mod">
        <pc:chgData name="Maurizio Ragusa" userId="7116ddc8-25eb-4c36-8910-62a6a26d8117" providerId="ADAL" clId="{F01262E5-779F-4BC4-856F-124F5B50F332}" dt="2019-12-16T15:59:08.863" v="6297" actId="20577"/>
        <pc:sldMkLst>
          <pc:docMk/>
          <pc:sldMk cId="2311556845" sldId="283"/>
        </pc:sldMkLst>
        <pc:spChg chg="mod">
          <ac:chgData name="Maurizio Ragusa" userId="7116ddc8-25eb-4c36-8910-62a6a26d8117" providerId="ADAL" clId="{F01262E5-779F-4BC4-856F-124F5B50F332}" dt="2019-12-16T15:59:08.863" v="6297" actId="20577"/>
          <ac:spMkLst>
            <pc:docMk/>
            <pc:sldMk cId="2311556845" sldId="283"/>
            <ac:spMk id="2" creationId="{80EBBC62-AAE0-C043-8FD5-F9C969FA1A7C}"/>
          </ac:spMkLst>
        </pc:spChg>
        <pc:spChg chg="add mod">
          <ac:chgData name="Maurizio Ragusa" userId="7116ddc8-25eb-4c36-8910-62a6a26d8117" providerId="ADAL" clId="{F01262E5-779F-4BC4-856F-124F5B50F332}" dt="2019-12-16T15:58:46.360" v="6285" actId="20577"/>
          <ac:spMkLst>
            <pc:docMk/>
            <pc:sldMk cId="2311556845" sldId="283"/>
            <ac:spMk id="6" creationId="{0DA6362F-B2ED-47A0-AF4D-0EB93E45F758}"/>
          </ac:spMkLst>
        </pc:spChg>
        <pc:spChg chg="del mod">
          <ac:chgData name="Maurizio Ragusa" userId="7116ddc8-25eb-4c36-8910-62a6a26d8117" providerId="ADAL" clId="{F01262E5-779F-4BC4-856F-124F5B50F332}" dt="2019-12-16T13:40:07.552" v="3839" actId="478"/>
          <ac:spMkLst>
            <pc:docMk/>
            <pc:sldMk cId="2311556845" sldId="283"/>
            <ac:spMk id="11" creationId="{4D484BC6-55BB-0847-AA19-597391558FA9}"/>
          </ac:spMkLst>
        </pc:spChg>
        <pc:graphicFrameChg chg="add del mod">
          <ac:chgData name="Maurizio Ragusa" userId="7116ddc8-25eb-4c36-8910-62a6a26d8117" providerId="ADAL" clId="{F01262E5-779F-4BC4-856F-124F5B50F332}" dt="2019-12-16T13:35:35.275" v="3817" actId="478"/>
          <ac:graphicFrameMkLst>
            <pc:docMk/>
            <pc:sldMk cId="2311556845" sldId="283"/>
            <ac:graphicFrameMk id="5" creationId="{541C56AE-1D0A-46CC-A5B3-9B14DFB0F777}"/>
          </ac:graphicFrameMkLst>
        </pc:graphicFrameChg>
        <pc:graphicFrameChg chg="del">
          <ac:chgData name="Maurizio Ragusa" userId="7116ddc8-25eb-4c36-8910-62a6a26d8117" providerId="ADAL" clId="{F01262E5-779F-4BC4-856F-124F5B50F332}" dt="2019-12-10T10:01:39.100" v="386" actId="478"/>
          <ac:graphicFrameMkLst>
            <pc:docMk/>
            <pc:sldMk cId="2311556845" sldId="283"/>
            <ac:graphicFrameMk id="9" creationId="{0621E25E-A4E4-4643-9E48-EDB9D021FC69}"/>
          </ac:graphicFrameMkLst>
        </pc:graphicFrameChg>
      </pc:sldChg>
      <pc:sldChg chg="addSp delSp modSp add modAnim">
        <pc:chgData name="Maurizio Ragusa" userId="7116ddc8-25eb-4c36-8910-62a6a26d8117" providerId="ADAL" clId="{F01262E5-779F-4BC4-856F-124F5B50F332}" dt="2019-12-17T10:57:34.964" v="7629" actId="478"/>
        <pc:sldMkLst>
          <pc:docMk/>
          <pc:sldMk cId="640129251" sldId="284"/>
        </pc:sldMkLst>
        <pc:spChg chg="del mod">
          <ac:chgData name="Maurizio Ragusa" userId="7116ddc8-25eb-4c36-8910-62a6a26d8117" providerId="ADAL" clId="{F01262E5-779F-4BC4-856F-124F5B50F332}" dt="2019-12-16T15:33:08.542" v="5666" actId="478"/>
          <ac:spMkLst>
            <pc:docMk/>
            <pc:sldMk cId="640129251" sldId="284"/>
            <ac:spMk id="2" creationId="{00000000-0000-0000-0000-000000000000}"/>
          </ac:spMkLst>
        </pc:spChg>
        <pc:spChg chg="add del mod">
          <ac:chgData name="Maurizio Ragusa" userId="7116ddc8-25eb-4c36-8910-62a6a26d8117" providerId="ADAL" clId="{F01262E5-779F-4BC4-856F-124F5B50F332}" dt="2019-12-16T15:33:17.811" v="5668" actId="478"/>
          <ac:spMkLst>
            <pc:docMk/>
            <pc:sldMk cId="640129251" sldId="284"/>
            <ac:spMk id="4" creationId="{43EC81F3-0E0E-4FC0-B11A-40433FDBCCD2}"/>
          </ac:spMkLst>
        </pc:spChg>
        <pc:spChg chg="del">
          <ac:chgData name="Maurizio Ragusa" userId="7116ddc8-25eb-4c36-8910-62a6a26d8117" providerId="ADAL" clId="{F01262E5-779F-4BC4-856F-124F5B50F332}" dt="2019-12-16T10:03:45.428" v="1224" actId="478"/>
          <ac:spMkLst>
            <pc:docMk/>
            <pc:sldMk cId="640129251" sldId="284"/>
            <ac:spMk id="5" creationId="{595D301D-8D9C-4C7E-8BC0-DEC0C7DB6ABA}"/>
          </ac:spMkLst>
        </pc:spChg>
        <pc:spChg chg="add mod">
          <ac:chgData name="Maurizio Ragusa" userId="7116ddc8-25eb-4c36-8910-62a6a26d8117" providerId="ADAL" clId="{F01262E5-779F-4BC4-856F-124F5B50F332}" dt="2019-12-16T15:46:27.680" v="5742" actId="20577"/>
          <ac:spMkLst>
            <pc:docMk/>
            <pc:sldMk cId="640129251" sldId="284"/>
            <ac:spMk id="6" creationId="{5A9DE24D-867D-4EE9-976A-A25F067551FD}"/>
          </ac:spMkLst>
        </pc:spChg>
        <pc:spChg chg="del mod">
          <ac:chgData name="Maurizio Ragusa" userId="7116ddc8-25eb-4c36-8910-62a6a26d8117" providerId="ADAL" clId="{F01262E5-779F-4BC4-856F-124F5B50F332}" dt="2019-12-16T10:03:43.719" v="1223" actId="478"/>
          <ac:spMkLst>
            <pc:docMk/>
            <pc:sldMk cId="640129251" sldId="284"/>
            <ac:spMk id="9" creationId="{3CDC2609-4208-477E-A63F-FD8CE3938AC8}"/>
          </ac:spMkLst>
        </pc:spChg>
        <pc:spChg chg="add mod">
          <ac:chgData name="Maurizio Ragusa" userId="7116ddc8-25eb-4c36-8910-62a6a26d8117" providerId="ADAL" clId="{F01262E5-779F-4BC4-856F-124F5B50F332}" dt="2019-12-16T15:31:27.681" v="5465" actId="20577"/>
          <ac:spMkLst>
            <pc:docMk/>
            <pc:sldMk cId="640129251" sldId="284"/>
            <ac:spMk id="10" creationId="{7B12955A-7A26-46B7-938A-C9D7E933D67B}"/>
          </ac:spMkLst>
        </pc:spChg>
        <pc:spChg chg="add del mod">
          <ac:chgData name="Maurizio Ragusa" userId="7116ddc8-25eb-4c36-8910-62a6a26d8117" providerId="ADAL" clId="{F01262E5-779F-4BC4-856F-124F5B50F332}" dt="2019-12-16T15:35:04.832" v="5701" actId="478"/>
          <ac:spMkLst>
            <pc:docMk/>
            <pc:sldMk cId="640129251" sldId="284"/>
            <ac:spMk id="11" creationId="{9D6FA7FD-3A86-4466-A2F3-9752ECB270DF}"/>
          </ac:spMkLst>
        </pc:spChg>
        <pc:spChg chg="add del mod">
          <ac:chgData name="Maurizio Ragusa" userId="7116ddc8-25eb-4c36-8910-62a6a26d8117" providerId="ADAL" clId="{F01262E5-779F-4BC4-856F-124F5B50F332}" dt="2019-12-16T15:35:09.507" v="5702" actId="478"/>
          <ac:spMkLst>
            <pc:docMk/>
            <pc:sldMk cId="640129251" sldId="284"/>
            <ac:spMk id="13" creationId="{B6813AF0-56F1-4B8F-BF39-89C28698E81D}"/>
          </ac:spMkLst>
        </pc:spChg>
        <pc:spChg chg="add del mod">
          <ac:chgData name="Maurizio Ragusa" userId="7116ddc8-25eb-4c36-8910-62a6a26d8117" providerId="ADAL" clId="{F01262E5-779F-4BC4-856F-124F5B50F332}" dt="2019-12-16T15:59:59.539" v="6319" actId="478"/>
          <ac:spMkLst>
            <pc:docMk/>
            <pc:sldMk cId="640129251" sldId="284"/>
            <ac:spMk id="15" creationId="{8299819B-36AB-43DE-90F2-E6299A4AD40E}"/>
          </ac:spMkLst>
        </pc:spChg>
        <pc:spChg chg="add del">
          <ac:chgData name="Maurizio Ragusa" userId="7116ddc8-25eb-4c36-8910-62a6a26d8117" providerId="ADAL" clId="{F01262E5-779F-4BC4-856F-124F5B50F332}" dt="2019-12-16T15:59:51.558" v="6318"/>
          <ac:spMkLst>
            <pc:docMk/>
            <pc:sldMk cId="640129251" sldId="284"/>
            <ac:spMk id="16" creationId="{E10DDD4B-DAC5-4561-A4CF-E8FFC3DA70B0}"/>
          </ac:spMkLst>
        </pc:spChg>
        <pc:spChg chg="add del">
          <ac:chgData name="Maurizio Ragusa" userId="7116ddc8-25eb-4c36-8910-62a6a26d8117" providerId="ADAL" clId="{F01262E5-779F-4BC4-856F-124F5B50F332}" dt="2019-12-16T16:00:01.339" v="6321"/>
          <ac:spMkLst>
            <pc:docMk/>
            <pc:sldMk cId="640129251" sldId="284"/>
            <ac:spMk id="17" creationId="{438BCC18-D363-489E-AF0F-43D8559CD8ED}"/>
          </ac:spMkLst>
        </pc:spChg>
        <pc:spChg chg="add mod">
          <ac:chgData name="Maurizio Ragusa" userId="7116ddc8-25eb-4c36-8910-62a6a26d8117" providerId="ADAL" clId="{F01262E5-779F-4BC4-856F-124F5B50F332}" dt="2019-12-16T16:01:05.344" v="6354" actId="207"/>
          <ac:spMkLst>
            <pc:docMk/>
            <pc:sldMk cId="640129251" sldId="284"/>
            <ac:spMk id="18" creationId="{28F61CA9-FCD2-4389-9B87-F643D1C43D00}"/>
          </ac:spMkLst>
        </pc:spChg>
        <pc:spChg chg="del">
          <ac:chgData name="Maurizio Ragusa" userId="7116ddc8-25eb-4c36-8910-62a6a26d8117" providerId="ADAL" clId="{F01262E5-779F-4BC4-856F-124F5B50F332}" dt="2019-12-17T10:57:34.964" v="7629" actId="478"/>
          <ac:spMkLst>
            <pc:docMk/>
            <pc:sldMk cId="640129251" sldId="284"/>
            <ac:spMk id="6145" creationId="{00000000-0000-0000-0000-000000000000}"/>
          </ac:spMkLst>
        </pc:spChg>
        <pc:grpChg chg="del mod">
          <ac:chgData name="Maurizio Ragusa" userId="7116ddc8-25eb-4c36-8910-62a6a26d8117" providerId="ADAL" clId="{F01262E5-779F-4BC4-856F-124F5B50F332}" dt="2019-12-16T15:33:38.748" v="5680" actId="478"/>
          <ac:grpSpMkLst>
            <pc:docMk/>
            <pc:sldMk cId="640129251" sldId="284"/>
            <ac:grpSpMk id="3" creationId="{00000000-0000-0000-0000-000000000000}"/>
          </ac:grpSpMkLst>
        </pc:grpChg>
      </pc:sldChg>
      <pc:sldChg chg="addSp delSp modSp add">
        <pc:chgData name="Maurizio Ragusa" userId="7116ddc8-25eb-4c36-8910-62a6a26d8117" providerId="ADAL" clId="{F01262E5-779F-4BC4-856F-124F5B50F332}" dt="2019-12-17T10:48:39.202" v="7619" actId="207"/>
        <pc:sldMkLst>
          <pc:docMk/>
          <pc:sldMk cId="1118679351" sldId="285"/>
        </pc:sldMkLst>
        <pc:spChg chg="mod">
          <ac:chgData name="Maurizio Ragusa" userId="7116ddc8-25eb-4c36-8910-62a6a26d8117" providerId="ADAL" clId="{F01262E5-779F-4BC4-856F-124F5B50F332}" dt="2019-12-16T15:10:35.819" v="4652" actId="20577"/>
          <ac:spMkLst>
            <pc:docMk/>
            <pc:sldMk cId="1118679351" sldId="285"/>
            <ac:spMk id="2" creationId="{80EBBC62-AAE0-C043-8FD5-F9C969FA1A7C}"/>
          </ac:spMkLst>
        </pc:spChg>
        <pc:spChg chg="mod">
          <ac:chgData name="Maurizio Ragusa" userId="7116ddc8-25eb-4c36-8910-62a6a26d8117" providerId="ADAL" clId="{F01262E5-779F-4BC4-856F-124F5B50F332}" dt="2019-12-17T10:48:18.982" v="7618" actId="20577"/>
          <ac:spMkLst>
            <pc:docMk/>
            <pc:sldMk cId="1118679351" sldId="285"/>
            <ac:spMk id="6" creationId="{546566D4-2992-47B5-AD24-5201FFE5FBEE}"/>
          </ac:spMkLst>
        </pc:spChg>
        <pc:spChg chg="del">
          <ac:chgData name="Maurizio Ragusa" userId="7116ddc8-25eb-4c36-8910-62a6a26d8117" providerId="ADAL" clId="{F01262E5-779F-4BC4-856F-124F5B50F332}" dt="2019-12-16T15:13:26.934" v="4842" actId="478"/>
          <ac:spMkLst>
            <pc:docMk/>
            <pc:sldMk cId="1118679351" sldId="285"/>
            <ac:spMk id="7" creationId="{632F1838-BFA5-4E6D-9820-BFFA74B654B0}"/>
          </ac:spMkLst>
        </pc:spChg>
        <pc:spChg chg="add mod">
          <ac:chgData name="Maurizio Ragusa" userId="7116ddc8-25eb-4c36-8910-62a6a26d8117" providerId="ADAL" clId="{F01262E5-779F-4BC4-856F-124F5B50F332}" dt="2019-12-16T15:14:31.745" v="4877" actId="1076"/>
          <ac:spMkLst>
            <pc:docMk/>
            <pc:sldMk cId="1118679351" sldId="285"/>
            <ac:spMk id="8" creationId="{5AD693FD-0AC0-45A6-97C9-DE402FEDCF1D}"/>
          </ac:spMkLst>
        </pc:spChg>
        <pc:spChg chg="add mod ord">
          <ac:chgData name="Maurizio Ragusa" userId="7116ddc8-25eb-4c36-8910-62a6a26d8117" providerId="ADAL" clId="{F01262E5-779F-4BC4-856F-124F5B50F332}" dt="2019-12-16T15:42:07.976" v="5718" actId="166"/>
          <ac:spMkLst>
            <pc:docMk/>
            <pc:sldMk cId="1118679351" sldId="285"/>
            <ac:spMk id="9" creationId="{07214726-26F7-4831-A81E-82BAB0583C02}"/>
          </ac:spMkLst>
        </pc:spChg>
        <pc:spChg chg="add del mod">
          <ac:chgData name="Maurizio Ragusa" userId="7116ddc8-25eb-4c36-8910-62a6a26d8117" providerId="ADAL" clId="{F01262E5-779F-4BC4-856F-124F5B50F332}" dt="2019-12-16T15:15:35.962" v="4882"/>
          <ac:spMkLst>
            <pc:docMk/>
            <pc:sldMk cId="1118679351" sldId="285"/>
            <ac:spMk id="10" creationId="{E5DC4C0B-672F-4884-B268-C6B001A81D23}"/>
          </ac:spMkLst>
        </pc:spChg>
        <pc:spChg chg="add mod ord">
          <ac:chgData name="Maurizio Ragusa" userId="7116ddc8-25eb-4c36-8910-62a6a26d8117" providerId="ADAL" clId="{F01262E5-779F-4BC4-856F-124F5B50F332}" dt="2019-12-16T15:42:40.195" v="5722" actId="166"/>
          <ac:spMkLst>
            <pc:docMk/>
            <pc:sldMk cId="1118679351" sldId="285"/>
            <ac:spMk id="11" creationId="{EEF40DEB-C988-4F9C-96AD-C20DD46F12AC}"/>
          </ac:spMkLst>
        </pc:spChg>
        <pc:spChg chg="add mod">
          <ac:chgData name="Maurizio Ragusa" userId="7116ddc8-25eb-4c36-8910-62a6a26d8117" providerId="ADAL" clId="{F01262E5-779F-4BC4-856F-124F5B50F332}" dt="2019-12-17T10:48:39.202" v="7619" actId="207"/>
          <ac:spMkLst>
            <pc:docMk/>
            <pc:sldMk cId="1118679351" sldId="285"/>
            <ac:spMk id="12" creationId="{20758B7D-3F02-4F16-922B-8606A722F609}"/>
          </ac:spMkLst>
        </pc:spChg>
        <pc:picChg chg="del">
          <ac:chgData name="Maurizio Ragusa" userId="7116ddc8-25eb-4c36-8910-62a6a26d8117" providerId="ADAL" clId="{F01262E5-779F-4BC4-856F-124F5B50F332}" dt="2019-12-16T15:09:58.391" v="4631" actId="478"/>
          <ac:picMkLst>
            <pc:docMk/>
            <pc:sldMk cId="1118679351" sldId="285"/>
            <ac:picMk id="4" creationId="{FB27819C-B3B8-45BB-B0AC-3C890DCCE9EC}"/>
          </ac:picMkLst>
        </pc:picChg>
        <pc:picChg chg="add del mod">
          <ac:chgData name="Maurizio Ragusa" userId="7116ddc8-25eb-4c36-8910-62a6a26d8117" providerId="ADAL" clId="{F01262E5-779F-4BC4-856F-124F5B50F332}" dt="2019-12-16T15:41:06.507" v="5706" actId="478"/>
          <ac:picMkLst>
            <pc:docMk/>
            <pc:sldMk cId="1118679351" sldId="285"/>
            <ac:picMk id="5" creationId="{7EB1D7ED-C090-4562-A9F6-400440C89BD9}"/>
          </ac:picMkLst>
        </pc:picChg>
        <pc:picChg chg="add mod ord">
          <ac:chgData name="Maurizio Ragusa" userId="7116ddc8-25eb-4c36-8910-62a6a26d8117" providerId="ADAL" clId="{F01262E5-779F-4BC4-856F-124F5B50F332}" dt="2019-12-16T16:23:46.794" v="6489" actId="167"/>
          <ac:picMkLst>
            <pc:docMk/>
            <pc:sldMk cId="1118679351" sldId="285"/>
            <ac:picMk id="22" creationId="{B5C1D6B0-6979-41E9-937D-C3D191C0310B}"/>
          </ac:picMkLst>
        </pc:picChg>
        <pc:cxnChg chg="add mod ord">
          <ac:chgData name="Maurizio Ragusa" userId="7116ddc8-25eb-4c36-8910-62a6a26d8117" providerId="ADAL" clId="{F01262E5-779F-4BC4-856F-124F5B50F332}" dt="2019-12-16T15:41:52.781" v="5715" actId="166"/>
          <ac:cxnSpMkLst>
            <pc:docMk/>
            <pc:sldMk cId="1118679351" sldId="285"/>
            <ac:cxnSpMk id="14" creationId="{6DC0B285-2F45-43ED-87ED-4B09C85C50C6}"/>
          </ac:cxnSpMkLst>
        </pc:cxnChg>
        <pc:cxnChg chg="add del mod">
          <ac:chgData name="Maurizio Ragusa" userId="7116ddc8-25eb-4c36-8910-62a6a26d8117" providerId="ADAL" clId="{F01262E5-779F-4BC4-856F-124F5B50F332}" dt="2019-12-16T15:19:57.521" v="5111" actId="11529"/>
          <ac:cxnSpMkLst>
            <pc:docMk/>
            <pc:sldMk cId="1118679351" sldId="285"/>
            <ac:cxnSpMk id="16" creationId="{EE086CBE-52B1-4F02-8E05-CCE865664651}"/>
          </ac:cxnSpMkLst>
        </pc:cxnChg>
        <pc:cxnChg chg="add mod ord">
          <ac:chgData name="Maurizio Ragusa" userId="7116ddc8-25eb-4c36-8910-62a6a26d8117" providerId="ADAL" clId="{F01262E5-779F-4BC4-856F-124F5B50F332}" dt="2019-12-16T15:42:04.401" v="5717" actId="166"/>
          <ac:cxnSpMkLst>
            <pc:docMk/>
            <pc:sldMk cId="1118679351" sldId="285"/>
            <ac:cxnSpMk id="18" creationId="{D05A17C4-DD7B-40C2-8180-C77FC304BC13}"/>
          </ac:cxnSpMkLst>
        </pc:cxnChg>
        <pc:cxnChg chg="add mod ord">
          <ac:chgData name="Maurizio Ragusa" userId="7116ddc8-25eb-4c36-8910-62a6a26d8117" providerId="ADAL" clId="{F01262E5-779F-4BC4-856F-124F5B50F332}" dt="2019-12-16T15:41:48.066" v="5714" actId="166"/>
          <ac:cxnSpMkLst>
            <pc:docMk/>
            <pc:sldMk cId="1118679351" sldId="285"/>
            <ac:cxnSpMk id="20" creationId="{4D6B2A23-76AE-43B1-BE7C-5950A52E11EF}"/>
          </ac:cxnSpMkLst>
        </pc:cxnChg>
      </pc:sldChg>
      <pc:sldChg chg="addSp delSp modSp add">
        <pc:chgData name="Maurizio Ragusa" userId="7116ddc8-25eb-4c36-8910-62a6a26d8117" providerId="ADAL" clId="{F01262E5-779F-4BC4-856F-124F5B50F332}" dt="2019-12-17T10:55:43.327" v="7628" actId="1076"/>
        <pc:sldMkLst>
          <pc:docMk/>
          <pc:sldMk cId="899248123" sldId="286"/>
        </pc:sldMkLst>
        <pc:spChg chg="del">
          <ac:chgData name="Maurizio Ragusa" userId="7116ddc8-25eb-4c36-8910-62a6a26d8117" providerId="ADAL" clId="{F01262E5-779F-4BC4-856F-124F5B50F332}" dt="2019-12-17T10:55:33.623" v="7625" actId="478"/>
          <ac:spMkLst>
            <pc:docMk/>
            <pc:sldMk cId="899248123" sldId="286"/>
            <ac:spMk id="2" creationId="{5A1F8A04-32E1-4AA9-90C4-9AD921C55A05}"/>
          </ac:spMkLst>
        </pc:spChg>
        <pc:spChg chg="del">
          <ac:chgData name="Maurizio Ragusa" userId="7116ddc8-25eb-4c36-8910-62a6a26d8117" providerId="ADAL" clId="{F01262E5-779F-4BC4-856F-124F5B50F332}" dt="2019-12-17T10:55:31.551" v="7623" actId="478"/>
          <ac:spMkLst>
            <pc:docMk/>
            <pc:sldMk cId="899248123" sldId="286"/>
            <ac:spMk id="3" creationId="{A5866061-A0A7-4BF3-937A-C6AA3152896C}"/>
          </ac:spMkLst>
        </pc:spChg>
        <pc:picChg chg="add mod">
          <ac:chgData name="Maurizio Ragusa" userId="7116ddc8-25eb-4c36-8910-62a6a26d8117" providerId="ADAL" clId="{F01262E5-779F-4BC4-856F-124F5B50F332}" dt="2019-12-17T10:55:43.327" v="7628" actId="1076"/>
          <ac:picMkLst>
            <pc:docMk/>
            <pc:sldMk cId="899248123" sldId="286"/>
            <ac:picMk id="5" creationId="{F2BECFC9-95CF-4483-86C1-822FDBF0C32D}"/>
          </ac:picMkLst>
        </pc:picChg>
      </pc:sldChg>
      <pc:sldMasterChg chg="setBg modSldLayout">
        <pc:chgData name="Maurizio Ragusa" userId="7116ddc8-25eb-4c36-8910-62a6a26d8117" providerId="ADAL" clId="{F01262E5-779F-4BC4-856F-124F5B50F332}" dt="2019-12-10T10:28:02.876" v="534" actId="478"/>
        <pc:sldMasterMkLst>
          <pc:docMk/>
          <pc:sldMasterMk cId="2886760439" sldId="2147483702"/>
        </pc:sldMasterMkLst>
        <pc:sldLayoutChg chg="setBg">
          <pc:chgData name="Maurizio Ragusa" userId="7116ddc8-25eb-4c36-8910-62a6a26d8117" providerId="ADAL" clId="{F01262E5-779F-4BC4-856F-124F5B50F332}" dt="2019-12-10T10:25:50.984" v="528"/>
          <pc:sldLayoutMkLst>
            <pc:docMk/>
            <pc:sldMasterMk cId="2886760439" sldId="2147483702"/>
            <pc:sldLayoutMk cId="617213481" sldId="2147483703"/>
          </pc:sldLayoutMkLst>
        </pc:sldLayoutChg>
        <pc:sldLayoutChg chg="delSp modSp setBg">
          <pc:chgData name="Maurizio Ragusa" userId="7116ddc8-25eb-4c36-8910-62a6a26d8117" providerId="ADAL" clId="{F01262E5-779F-4BC4-856F-124F5B50F332}" dt="2019-12-10T10:28:02.876" v="534" actId="478"/>
          <pc:sldLayoutMkLst>
            <pc:docMk/>
            <pc:sldMasterMk cId="2886760439" sldId="2147483702"/>
            <pc:sldLayoutMk cId="1449099551" sldId="2147483708"/>
          </pc:sldLayoutMkLst>
          <pc:spChg chg="del">
            <ac:chgData name="Maurizio Ragusa" userId="7116ddc8-25eb-4c36-8910-62a6a26d8117" providerId="ADAL" clId="{F01262E5-779F-4BC4-856F-124F5B50F332}" dt="2019-12-10T10:27:59.012" v="532" actId="478"/>
            <ac:spMkLst>
              <pc:docMk/>
              <pc:sldMasterMk cId="2886760439" sldId="2147483702"/>
              <pc:sldLayoutMk cId="1449099551" sldId="2147483708"/>
              <ac:spMk id="36" creationId="{9430FA15-2C39-5B47-B30A-6EACB1A2ED68}"/>
            </ac:spMkLst>
          </pc:spChg>
          <pc:spChg chg="del mod">
            <ac:chgData name="Maurizio Ragusa" userId="7116ddc8-25eb-4c36-8910-62a6a26d8117" providerId="ADAL" clId="{F01262E5-779F-4BC4-856F-124F5B50F332}" dt="2019-12-10T10:28:02.876" v="534" actId="478"/>
            <ac:spMkLst>
              <pc:docMk/>
              <pc:sldMasterMk cId="2886760439" sldId="2147483702"/>
              <pc:sldLayoutMk cId="1449099551" sldId="2147483708"/>
              <ac:spMk id="37" creationId="{864702D8-60BB-5A4A-980C-FA498A75C4BA}"/>
            </ac:spMkLst>
          </pc:spChg>
        </pc:sldLayoutChg>
        <pc:sldLayoutChg chg="setBg">
          <pc:chgData name="Maurizio Ragusa" userId="7116ddc8-25eb-4c36-8910-62a6a26d8117" providerId="ADAL" clId="{F01262E5-779F-4BC4-856F-124F5B50F332}" dt="2019-12-10T10:25:50.984" v="528"/>
          <pc:sldLayoutMkLst>
            <pc:docMk/>
            <pc:sldMasterMk cId="2886760439" sldId="2147483702"/>
            <pc:sldLayoutMk cId="9137089" sldId="2147483709"/>
          </pc:sldLayoutMkLst>
        </pc:sldLayoutChg>
        <pc:sldLayoutChg chg="setBg">
          <pc:chgData name="Maurizio Ragusa" userId="7116ddc8-25eb-4c36-8910-62a6a26d8117" providerId="ADAL" clId="{F01262E5-779F-4BC4-856F-124F5B50F332}" dt="2019-12-10T10:25:50.984" v="528"/>
          <pc:sldLayoutMkLst>
            <pc:docMk/>
            <pc:sldMasterMk cId="2886760439" sldId="2147483702"/>
            <pc:sldLayoutMk cId="634279434" sldId="2147483710"/>
          </pc:sldLayoutMkLst>
        </pc:sldLayoutChg>
        <pc:sldLayoutChg chg="setBg">
          <pc:chgData name="Maurizio Ragusa" userId="7116ddc8-25eb-4c36-8910-62a6a26d8117" providerId="ADAL" clId="{F01262E5-779F-4BC4-856F-124F5B50F332}" dt="2019-12-10T10:25:50.984" v="528"/>
          <pc:sldLayoutMkLst>
            <pc:docMk/>
            <pc:sldMasterMk cId="2886760439" sldId="2147483702"/>
            <pc:sldLayoutMk cId="1502024028" sldId="2147483711"/>
          </pc:sldLayoutMkLst>
        </pc:sldLayoutChg>
        <pc:sldLayoutChg chg="setBg">
          <pc:chgData name="Maurizio Ragusa" userId="7116ddc8-25eb-4c36-8910-62a6a26d8117" providerId="ADAL" clId="{F01262E5-779F-4BC4-856F-124F5B50F332}" dt="2019-12-10T10:25:50.984" v="528"/>
          <pc:sldLayoutMkLst>
            <pc:docMk/>
            <pc:sldMasterMk cId="2886760439" sldId="2147483702"/>
            <pc:sldLayoutMk cId="1580207653" sldId="2147483712"/>
          </pc:sldLayoutMkLst>
        </pc:sldLayoutChg>
      </pc:sldMasterChg>
    </pc:docChg>
  </pc:docChgLst>
  <pc:docChgLst>
    <pc:chgData name="Maurizio Ragusa" userId="7116ddc8-25eb-4c36-8910-62a6a26d8117" providerId="ADAL" clId="{7EBCB12D-1FBE-45F5-85C0-0E10B5B53851}"/>
    <pc:docChg chg="undo custSel addSld delSld modSld sldOrd">
      <pc:chgData name="Maurizio Ragusa" userId="7116ddc8-25eb-4c36-8910-62a6a26d8117" providerId="ADAL" clId="{7EBCB12D-1FBE-45F5-85C0-0E10B5B53851}" dt="2020-12-14T12:05:17.450" v="8106" actId="2696"/>
      <pc:docMkLst>
        <pc:docMk/>
      </pc:docMkLst>
      <pc:sldChg chg="modSp mod">
        <pc:chgData name="Maurizio Ragusa" userId="7116ddc8-25eb-4c36-8910-62a6a26d8117" providerId="ADAL" clId="{7EBCB12D-1FBE-45F5-85C0-0E10B5B53851}" dt="2020-12-09T14:13:29.829" v="38" actId="20577"/>
        <pc:sldMkLst>
          <pc:docMk/>
          <pc:sldMk cId="1038236211" sldId="256"/>
        </pc:sldMkLst>
        <pc:spChg chg="mod">
          <ac:chgData name="Maurizio Ragusa" userId="7116ddc8-25eb-4c36-8910-62a6a26d8117" providerId="ADAL" clId="{7EBCB12D-1FBE-45F5-85C0-0E10B5B53851}" dt="2020-12-09T14:13:18.031" v="33" actId="20577"/>
          <ac:spMkLst>
            <pc:docMk/>
            <pc:sldMk cId="1038236211" sldId="256"/>
            <ac:spMk id="12" creationId="{4A34DA86-8EEE-144F-84D6-C02ABDD1D912}"/>
          </ac:spMkLst>
        </pc:spChg>
        <pc:spChg chg="mod">
          <ac:chgData name="Maurizio Ragusa" userId="7116ddc8-25eb-4c36-8910-62a6a26d8117" providerId="ADAL" clId="{7EBCB12D-1FBE-45F5-85C0-0E10B5B53851}" dt="2020-12-09T14:13:29.829" v="38" actId="20577"/>
          <ac:spMkLst>
            <pc:docMk/>
            <pc:sldMk cId="1038236211" sldId="256"/>
            <ac:spMk id="14" creationId="{7E8BE347-D6F4-9846-991E-C390F9F284F6}"/>
          </ac:spMkLst>
        </pc:spChg>
      </pc:sldChg>
      <pc:sldChg chg="del">
        <pc:chgData name="Maurizio Ragusa" userId="7116ddc8-25eb-4c36-8910-62a6a26d8117" providerId="ADAL" clId="{7EBCB12D-1FBE-45F5-85C0-0E10B5B53851}" dt="2020-12-09T14:14:43.875" v="48" actId="2696"/>
        <pc:sldMkLst>
          <pc:docMk/>
          <pc:sldMk cId="1020496249" sldId="286"/>
        </pc:sldMkLst>
      </pc:sldChg>
      <pc:sldChg chg="addSp delSp modSp mod ord">
        <pc:chgData name="Maurizio Ragusa" userId="7116ddc8-25eb-4c36-8910-62a6a26d8117" providerId="ADAL" clId="{7EBCB12D-1FBE-45F5-85C0-0E10B5B53851}" dt="2020-12-14T10:46:45.778" v="7627" actId="14100"/>
        <pc:sldMkLst>
          <pc:docMk/>
          <pc:sldMk cId="749014973" sldId="287"/>
        </pc:sldMkLst>
        <pc:spChg chg="mod">
          <ac:chgData name="Maurizio Ragusa" userId="7116ddc8-25eb-4c36-8910-62a6a26d8117" providerId="ADAL" clId="{7EBCB12D-1FBE-45F5-85C0-0E10B5B53851}" dt="2020-12-09T14:14:26.439" v="47" actId="20577"/>
          <ac:spMkLst>
            <pc:docMk/>
            <pc:sldMk cId="749014973" sldId="287"/>
            <ac:spMk id="2" creationId="{4D647796-90A1-41E7-BC1B-D8CF67138DAA}"/>
          </ac:spMkLst>
        </pc:spChg>
        <pc:spChg chg="mod">
          <ac:chgData name="Maurizio Ragusa" userId="7116ddc8-25eb-4c36-8910-62a6a26d8117" providerId="ADAL" clId="{7EBCB12D-1FBE-45F5-85C0-0E10B5B53851}" dt="2020-12-14T10:46:45.778" v="7627" actId="14100"/>
          <ac:spMkLst>
            <pc:docMk/>
            <pc:sldMk cId="749014973" sldId="287"/>
            <ac:spMk id="4" creationId="{6A83C167-C64E-4B95-B4A6-75DC301AE85D}"/>
          </ac:spMkLst>
        </pc:spChg>
        <pc:spChg chg="add mod">
          <ac:chgData name="Maurizio Ragusa" userId="7116ddc8-25eb-4c36-8910-62a6a26d8117" providerId="ADAL" clId="{7EBCB12D-1FBE-45F5-85C0-0E10B5B53851}" dt="2020-12-09T14:14:53.244" v="50"/>
          <ac:spMkLst>
            <pc:docMk/>
            <pc:sldMk cId="749014973" sldId="287"/>
            <ac:spMk id="6" creationId="{2C4A1059-6DAE-47E9-9922-7FC9F81329C8}"/>
          </ac:spMkLst>
        </pc:spChg>
        <pc:spChg chg="del">
          <ac:chgData name="Maurizio Ragusa" userId="7116ddc8-25eb-4c36-8910-62a6a26d8117" providerId="ADAL" clId="{7EBCB12D-1FBE-45F5-85C0-0E10B5B53851}" dt="2020-12-09T14:15:04.514" v="52" actId="478"/>
          <ac:spMkLst>
            <pc:docMk/>
            <pc:sldMk cId="749014973" sldId="287"/>
            <ac:spMk id="7" creationId="{62A3DEB5-EE2D-49E6-8B10-B922936AF7EF}"/>
          </ac:spMkLst>
        </pc:spChg>
        <pc:spChg chg="del">
          <ac:chgData name="Maurizio Ragusa" userId="7116ddc8-25eb-4c36-8910-62a6a26d8117" providerId="ADAL" clId="{7EBCB12D-1FBE-45F5-85C0-0E10B5B53851}" dt="2020-12-09T14:15:02.913" v="51" actId="478"/>
          <ac:spMkLst>
            <pc:docMk/>
            <pc:sldMk cId="749014973" sldId="287"/>
            <ac:spMk id="9" creationId="{2087459D-4085-456F-8D8C-FA4334D57EAE}"/>
          </ac:spMkLst>
        </pc:spChg>
      </pc:sldChg>
      <pc:sldChg chg="addSp delSp modSp mod">
        <pc:chgData name="Maurizio Ragusa" userId="7116ddc8-25eb-4c36-8910-62a6a26d8117" providerId="ADAL" clId="{7EBCB12D-1FBE-45F5-85C0-0E10B5B53851}" dt="2020-12-14T11:12:46.544" v="7838"/>
        <pc:sldMkLst>
          <pc:docMk/>
          <pc:sldMk cId="2372744392" sldId="288"/>
        </pc:sldMkLst>
        <pc:spChg chg="mod">
          <ac:chgData name="Maurizio Ragusa" userId="7116ddc8-25eb-4c36-8910-62a6a26d8117" providerId="ADAL" clId="{7EBCB12D-1FBE-45F5-85C0-0E10B5B53851}" dt="2020-12-09T14:23:50.881" v="297" actId="20577"/>
          <ac:spMkLst>
            <pc:docMk/>
            <pc:sldMk cId="2372744392" sldId="288"/>
            <ac:spMk id="2" creationId="{8268C7F0-47D3-4E88-8FAF-126D776250AB}"/>
          </ac:spMkLst>
        </pc:spChg>
        <pc:spChg chg="add del mod">
          <ac:chgData name="Maurizio Ragusa" userId="7116ddc8-25eb-4c36-8910-62a6a26d8117" providerId="ADAL" clId="{7EBCB12D-1FBE-45F5-85C0-0E10B5B53851}" dt="2020-12-10T11:03:38.273" v="310" actId="767"/>
          <ac:spMkLst>
            <pc:docMk/>
            <pc:sldMk cId="2372744392" sldId="288"/>
            <ac:spMk id="3" creationId="{4991D3F4-A2EE-45AD-AC07-3CBA25D2D59B}"/>
          </ac:spMkLst>
        </pc:spChg>
        <pc:spChg chg="add mod">
          <ac:chgData name="Maurizio Ragusa" userId="7116ddc8-25eb-4c36-8910-62a6a26d8117" providerId="ADAL" clId="{7EBCB12D-1FBE-45F5-85C0-0E10B5B53851}" dt="2020-12-14T11:12:46.544" v="7838"/>
          <ac:spMkLst>
            <pc:docMk/>
            <pc:sldMk cId="2372744392" sldId="288"/>
            <ac:spMk id="4" creationId="{A947A9D5-7CE3-43DB-A2EF-D33F6A4CED48}"/>
          </ac:spMkLst>
        </pc:spChg>
        <pc:spChg chg="del">
          <ac:chgData name="Maurizio Ragusa" userId="7116ddc8-25eb-4c36-8910-62a6a26d8117" providerId="ADAL" clId="{7EBCB12D-1FBE-45F5-85C0-0E10B5B53851}" dt="2020-12-09T14:24:44.427" v="302" actId="478"/>
          <ac:spMkLst>
            <pc:docMk/>
            <pc:sldMk cId="2372744392" sldId="288"/>
            <ac:spMk id="5" creationId="{7DA0CB3F-1AB8-4249-8119-CFEEBD46C610}"/>
          </ac:spMkLst>
        </pc:spChg>
        <pc:spChg chg="del mod">
          <ac:chgData name="Maurizio Ragusa" userId="7116ddc8-25eb-4c36-8910-62a6a26d8117" providerId="ADAL" clId="{7EBCB12D-1FBE-45F5-85C0-0E10B5B53851}" dt="2020-12-09T14:24:40.230" v="300" actId="478"/>
          <ac:spMkLst>
            <pc:docMk/>
            <pc:sldMk cId="2372744392" sldId="288"/>
            <ac:spMk id="17" creationId="{97677195-2024-43A7-AEF0-AFC97415CE0A}"/>
          </ac:spMkLst>
        </pc:spChg>
        <pc:picChg chg="del">
          <ac:chgData name="Maurizio Ragusa" userId="7116ddc8-25eb-4c36-8910-62a6a26d8117" providerId="ADAL" clId="{7EBCB12D-1FBE-45F5-85C0-0E10B5B53851}" dt="2020-12-09T14:24:36.464" v="298" actId="478"/>
          <ac:picMkLst>
            <pc:docMk/>
            <pc:sldMk cId="2372744392" sldId="288"/>
            <ac:picMk id="4" creationId="{06FF6E52-3BF0-4FAA-B6B4-D4E1737FA024}"/>
          </ac:picMkLst>
        </pc:picChg>
        <pc:picChg chg="add mod">
          <ac:chgData name="Maurizio Ragusa" userId="7116ddc8-25eb-4c36-8910-62a6a26d8117" providerId="ADAL" clId="{7EBCB12D-1FBE-45F5-85C0-0E10B5B53851}" dt="2020-12-10T11:03:49.036" v="312" actId="1076"/>
          <ac:picMkLst>
            <pc:docMk/>
            <pc:sldMk cId="2372744392" sldId="288"/>
            <ac:picMk id="4098" creationId="{4B76DE0F-F377-4B2A-9523-A70CA60B8168}"/>
          </ac:picMkLst>
        </pc:picChg>
        <pc:cxnChg chg="del">
          <ac:chgData name="Maurizio Ragusa" userId="7116ddc8-25eb-4c36-8910-62a6a26d8117" providerId="ADAL" clId="{7EBCB12D-1FBE-45F5-85C0-0E10B5B53851}" dt="2020-12-09T14:24:40.967" v="301" actId="478"/>
          <ac:cxnSpMkLst>
            <pc:docMk/>
            <pc:sldMk cId="2372744392" sldId="288"/>
            <ac:cxnSpMk id="14" creationId="{B6FF37E1-47B9-476D-9B4E-3DAC5CA0A318}"/>
          </ac:cxnSpMkLst>
        </pc:cxnChg>
      </pc:sldChg>
      <pc:sldChg chg="addSp delSp modSp mod">
        <pc:chgData name="Maurizio Ragusa" userId="7116ddc8-25eb-4c36-8910-62a6a26d8117" providerId="ADAL" clId="{7EBCB12D-1FBE-45F5-85C0-0E10B5B53851}" dt="2020-12-10T14:28:15.536" v="562" actId="1076"/>
        <pc:sldMkLst>
          <pc:docMk/>
          <pc:sldMk cId="1261358674" sldId="289"/>
        </pc:sldMkLst>
        <pc:spChg chg="mod">
          <ac:chgData name="Maurizio Ragusa" userId="7116ddc8-25eb-4c36-8910-62a6a26d8117" providerId="ADAL" clId="{7EBCB12D-1FBE-45F5-85C0-0E10B5B53851}" dt="2020-12-10T11:08:04.085" v="414" actId="20577"/>
          <ac:spMkLst>
            <pc:docMk/>
            <pc:sldMk cId="1261358674" sldId="289"/>
            <ac:spMk id="2" creationId="{8268C7F0-47D3-4E88-8FAF-126D776250AB}"/>
          </ac:spMkLst>
        </pc:spChg>
        <pc:spChg chg="add del mod">
          <ac:chgData name="Maurizio Ragusa" userId="7116ddc8-25eb-4c36-8910-62a6a26d8117" providerId="ADAL" clId="{7EBCB12D-1FBE-45F5-85C0-0E10B5B53851}" dt="2020-12-10T13:52:06.967" v="490" actId="478"/>
          <ac:spMkLst>
            <pc:docMk/>
            <pc:sldMk cId="1261358674" sldId="289"/>
            <ac:spMk id="3" creationId="{A37BC01B-3B9B-4B12-8924-1ED85E8AC95E}"/>
          </ac:spMkLst>
        </pc:spChg>
        <pc:spChg chg="add del mod">
          <ac:chgData name="Maurizio Ragusa" userId="7116ddc8-25eb-4c36-8910-62a6a26d8117" providerId="ADAL" clId="{7EBCB12D-1FBE-45F5-85C0-0E10B5B53851}" dt="2020-12-10T14:28:15.536" v="562" actId="1076"/>
          <ac:spMkLst>
            <pc:docMk/>
            <pc:sldMk cId="1261358674" sldId="289"/>
            <ac:spMk id="4" creationId="{A947A9D5-7CE3-43DB-A2EF-D33F6A4CED48}"/>
          </ac:spMkLst>
        </pc:spChg>
        <pc:picChg chg="del">
          <ac:chgData name="Maurizio Ragusa" userId="7116ddc8-25eb-4c36-8910-62a6a26d8117" providerId="ADAL" clId="{7EBCB12D-1FBE-45F5-85C0-0E10B5B53851}" dt="2020-12-10T11:06:22.391" v="393" actId="478"/>
          <ac:picMkLst>
            <pc:docMk/>
            <pc:sldMk cId="1261358674" sldId="289"/>
            <ac:picMk id="4098" creationId="{4B76DE0F-F377-4B2A-9523-A70CA60B8168}"/>
          </ac:picMkLst>
        </pc:picChg>
        <pc:picChg chg="add del mod">
          <ac:chgData name="Maurizio Ragusa" userId="7116ddc8-25eb-4c36-8910-62a6a26d8117" providerId="ADAL" clId="{7EBCB12D-1FBE-45F5-85C0-0E10B5B53851}" dt="2020-12-10T13:52:17.416" v="491" actId="1076"/>
          <ac:picMkLst>
            <pc:docMk/>
            <pc:sldMk cId="1261358674" sldId="289"/>
            <ac:picMk id="7169" creationId="{4F456142-7B47-416B-B5FC-9F9D63E36395}"/>
          </ac:picMkLst>
        </pc:picChg>
        <pc:picChg chg="add mod">
          <ac:chgData name="Maurizio Ragusa" userId="7116ddc8-25eb-4c36-8910-62a6a26d8117" providerId="ADAL" clId="{7EBCB12D-1FBE-45F5-85C0-0E10B5B53851}" dt="2020-12-10T14:28:01.320" v="548" actId="14100"/>
          <ac:picMkLst>
            <pc:docMk/>
            <pc:sldMk cId="1261358674" sldId="289"/>
            <ac:picMk id="7172" creationId="{D211E4B0-CA4B-4EA6-B403-E4427A6B02E7}"/>
          </ac:picMkLst>
        </pc:picChg>
        <pc:picChg chg="add mod">
          <ac:chgData name="Maurizio Ragusa" userId="7116ddc8-25eb-4c36-8910-62a6a26d8117" providerId="ADAL" clId="{7EBCB12D-1FBE-45F5-85C0-0E10B5B53851}" dt="2020-12-10T14:01:27.686" v="508" actId="14100"/>
          <ac:picMkLst>
            <pc:docMk/>
            <pc:sldMk cId="1261358674" sldId="289"/>
            <ac:picMk id="7174" creationId="{11148156-31C0-4B08-8319-83B18E7EF46F}"/>
          </ac:picMkLst>
        </pc:picChg>
        <pc:picChg chg="add mod">
          <ac:chgData name="Maurizio Ragusa" userId="7116ddc8-25eb-4c36-8910-62a6a26d8117" providerId="ADAL" clId="{7EBCB12D-1FBE-45F5-85C0-0E10B5B53851}" dt="2020-12-10T14:27:50.825" v="547" actId="14100"/>
          <ac:picMkLst>
            <pc:docMk/>
            <pc:sldMk cId="1261358674" sldId="289"/>
            <ac:picMk id="7176" creationId="{F321B57E-6CAF-4C8E-9D00-D0F3D018BCA6}"/>
          </ac:picMkLst>
        </pc:picChg>
      </pc:sldChg>
      <pc:sldChg chg="del">
        <pc:chgData name="Maurizio Ragusa" userId="7116ddc8-25eb-4c36-8910-62a6a26d8117" providerId="ADAL" clId="{7EBCB12D-1FBE-45F5-85C0-0E10B5B53851}" dt="2020-12-09T14:14:43.875" v="48" actId="2696"/>
        <pc:sldMkLst>
          <pc:docMk/>
          <pc:sldMk cId="3284270096" sldId="289"/>
        </pc:sldMkLst>
      </pc:sldChg>
      <pc:sldChg chg="addSp delSp modSp add mod">
        <pc:chgData name="Maurizio Ragusa" userId="7116ddc8-25eb-4c36-8910-62a6a26d8117" providerId="ADAL" clId="{7EBCB12D-1FBE-45F5-85C0-0E10B5B53851}" dt="2020-12-10T15:23:33.123" v="631" actId="1076"/>
        <pc:sldMkLst>
          <pc:docMk/>
          <pc:sldMk cId="917498098" sldId="290"/>
        </pc:sldMkLst>
        <pc:spChg chg="mod">
          <ac:chgData name="Maurizio Ragusa" userId="7116ddc8-25eb-4c36-8910-62a6a26d8117" providerId="ADAL" clId="{7EBCB12D-1FBE-45F5-85C0-0E10B5B53851}" dt="2020-12-10T15:19:44.681" v="605" actId="20577"/>
          <ac:spMkLst>
            <pc:docMk/>
            <pc:sldMk cId="917498098" sldId="290"/>
            <ac:spMk id="2" creationId="{8268C7F0-47D3-4E88-8FAF-126D776250AB}"/>
          </ac:spMkLst>
        </pc:spChg>
        <pc:spChg chg="del mod">
          <ac:chgData name="Maurizio Ragusa" userId="7116ddc8-25eb-4c36-8910-62a6a26d8117" providerId="ADAL" clId="{7EBCB12D-1FBE-45F5-85C0-0E10B5B53851}" dt="2020-12-10T15:21:21.448" v="615" actId="478"/>
          <ac:spMkLst>
            <pc:docMk/>
            <pc:sldMk cId="917498098" sldId="290"/>
            <ac:spMk id="4" creationId="{A947A9D5-7CE3-43DB-A2EF-D33F6A4CED48}"/>
          </ac:spMkLst>
        </pc:spChg>
        <pc:spChg chg="add mod">
          <ac:chgData name="Maurizio Ragusa" userId="7116ddc8-25eb-4c36-8910-62a6a26d8117" providerId="ADAL" clId="{7EBCB12D-1FBE-45F5-85C0-0E10B5B53851}" dt="2020-12-10T15:21:53.329" v="627" actId="255"/>
          <ac:spMkLst>
            <pc:docMk/>
            <pc:sldMk cId="917498098" sldId="290"/>
            <ac:spMk id="7" creationId="{C2B3AAD5-72E9-49EB-9AFB-C460F19B49CD}"/>
          </ac:spMkLst>
        </pc:spChg>
        <pc:picChg chg="del">
          <ac:chgData name="Maurizio Ragusa" userId="7116ddc8-25eb-4c36-8910-62a6a26d8117" providerId="ADAL" clId="{7EBCB12D-1FBE-45F5-85C0-0E10B5B53851}" dt="2020-12-10T15:21:58.789" v="628" actId="478"/>
          <ac:picMkLst>
            <pc:docMk/>
            <pc:sldMk cId="917498098" sldId="290"/>
            <ac:picMk id="4098" creationId="{4B76DE0F-F377-4B2A-9523-A70CA60B8168}"/>
          </ac:picMkLst>
        </pc:picChg>
        <pc:picChg chg="add del">
          <ac:chgData name="Maurizio Ragusa" userId="7116ddc8-25eb-4c36-8910-62a6a26d8117" providerId="ADAL" clId="{7EBCB12D-1FBE-45F5-85C0-0E10B5B53851}" dt="2020-12-10T15:21:19.550" v="614"/>
          <ac:picMkLst>
            <pc:docMk/>
            <pc:sldMk cId="917498098" sldId="290"/>
            <ac:picMk id="6146" creationId="{357254B7-FE1D-46B1-9E26-3DA4A4201438}"/>
          </ac:picMkLst>
        </pc:picChg>
        <pc:picChg chg="add del">
          <ac:chgData name="Maurizio Ragusa" userId="7116ddc8-25eb-4c36-8910-62a6a26d8117" providerId="ADAL" clId="{7EBCB12D-1FBE-45F5-85C0-0E10B5B53851}" dt="2020-12-10T15:21:25.068" v="617"/>
          <ac:picMkLst>
            <pc:docMk/>
            <pc:sldMk cId="917498098" sldId="290"/>
            <ac:picMk id="6148" creationId="{381139CC-DABE-4DED-924A-41DD76C4DBA3}"/>
          </ac:picMkLst>
        </pc:picChg>
        <pc:picChg chg="add mod">
          <ac:chgData name="Maurizio Ragusa" userId="7116ddc8-25eb-4c36-8910-62a6a26d8117" providerId="ADAL" clId="{7EBCB12D-1FBE-45F5-85C0-0E10B5B53851}" dt="2020-12-10T15:23:33.123" v="631" actId="1076"/>
          <ac:picMkLst>
            <pc:docMk/>
            <pc:sldMk cId="917498098" sldId="290"/>
            <ac:picMk id="6150" creationId="{63EAA365-117F-4088-91B9-AF37BF011A1D}"/>
          </ac:picMkLst>
        </pc:picChg>
      </pc:sldChg>
      <pc:sldChg chg="del">
        <pc:chgData name="Maurizio Ragusa" userId="7116ddc8-25eb-4c36-8910-62a6a26d8117" providerId="ADAL" clId="{7EBCB12D-1FBE-45F5-85C0-0E10B5B53851}" dt="2020-12-09T14:14:43.875" v="48" actId="2696"/>
        <pc:sldMkLst>
          <pc:docMk/>
          <pc:sldMk cId="1294163913" sldId="290"/>
        </pc:sldMkLst>
      </pc:sldChg>
      <pc:sldChg chg="modSp add del mod">
        <pc:chgData name="Maurizio Ragusa" userId="7116ddc8-25eb-4c36-8910-62a6a26d8117" providerId="ADAL" clId="{7EBCB12D-1FBE-45F5-85C0-0E10B5B53851}" dt="2020-12-10T15:29:33.023" v="632" actId="2696"/>
        <pc:sldMkLst>
          <pc:docMk/>
          <pc:sldMk cId="2515526013" sldId="291"/>
        </pc:sldMkLst>
        <pc:spChg chg="mod">
          <ac:chgData name="Maurizio Ragusa" userId="7116ddc8-25eb-4c36-8910-62a6a26d8117" providerId="ADAL" clId="{7EBCB12D-1FBE-45F5-85C0-0E10B5B53851}" dt="2020-12-10T11:06:14.079" v="392" actId="1076"/>
          <ac:spMkLst>
            <pc:docMk/>
            <pc:sldMk cId="2515526013" sldId="291"/>
            <ac:spMk id="4" creationId="{A947A9D5-7CE3-43DB-A2EF-D33F6A4CED48}"/>
          </ac:spMkLst>
        </pc:spChg>
      </pc:sldChg>
      <pc:sldChg chg="del">
        <pc:chgData name="Maurizio Ragusa" userId="7116ddc8-25eb-4c36-8910-62a6a26d8117" providerId="ADAL" clId="{7EBCB12D-1FBE-45F5-85C0-0E10B5B53851}" dt="2020-12-09T14:14:43.875" v="48" actId="2696"/>
        <pc:sldMkLst>
          <pc:docMk/>
          <pc:sldMk cId="3453988248" sldId="291"/>
        </pc:sldMkLst>
      </pc:sldChg>
      <pc:sldChg chg="addSp delSp modSp mod">
        <pc:chgData name="Maurizio Ragusa" userId="7116ddc8-25eb-4c36-8910-62a6a26d8117" providerId="ADAL" clId="{7EBCB12D-1FBE-45F5-85C0-0E10B5B53851}" dt="2020-12-10T15:45:39.027" v="888" actId="20577"/>
        <pc:sldMkLst>
          <pc:docMk/>
          <pc:sldMk cId="3663931860" sldId="291"/>
        </pc:sldMkLst>
        <pc:spChg chg="add mod">
          <ac:chgData name="Maurizio Ragusa" userId="7116ddc8-25eb-4c36-8910-62a6a26d8117" providerId="ADAL" clId="{7EBCB12D-1FBE-45F5-85C0-0E10B5B53851}" dt="2020-12-10T15:45:39.027" v="888" actId="20577"/>
          <ac:spMkLst>
            <pc:docMk/>
            <pc:sldMk cId="3663931860" sldId="291"/>
            <ac:spMk id="3" creationId="{B65120E1-0F13-4E31-A132-80CD73BE0E22}"/>
          </ac:spMkLst>
        </pc:spChg>
        <pc:spChg chg="mod">
          <ac:chgData name="Maurizio Ragusa" userId="7116ddc8-25eb-4c36-8910-62a6a26d8117" providerId="ADAL" clId="{7EBCB12D-1FBE-45F5-85C0-0E10B5B53851}" dt="2020-12-10T15:31:36.735" v="644" actId="20577"/>
          <ac:spMkLst>
            <pc:docMk/>
            <pc:sldMk cId="3663931860" sldId="291"/>
            <ac:spMk id="7" creationId="{C2B3AAD5-72E9-49EB-9AFB-C460F19B49CD}"/>
          </ac:spMkLst>
        </pc:spChg>
        <pc:picChg chg="del mod">
          <ac:chgData name="Maurizio Ragusa" userId="7116ddc8-25eb-4c36-8910-62a6a26d8117" providerId="ADAL" clId="{7EBCB12D-1FBE-45F5-85C0-0E10B5B53851}" dt="2020-12-10T15:33:16.853" v="653" actId="478"/>
          <ac:picMkLst>
            <pc:docMk/>
            <pc:sldMk cId="3663931860" sldId="291"/>
            <ac:picMk id="6150" creationId="{63EAA365-117F-4088-91B9-AF37BF011A1D}"/>
          </ac:picMkLst>
        </pc:picChg>
        <pc:picChg chg="add del mod">
          <ac:chgData name="Maurizio Ragusa" userId="7116ddc8-25eb-4c36-8910-62a6a26d8117" providerId="ADAL" clId="{7EBCB12D-1FBE-45F5-85C0-0E10B5B53851}" dt="2020-12-10T15:33:14.746" v="652"/>
          <ac:picMkLst>
            <pc:docMk/>
            <pc:sldMk cId="3663931860" sldId="291"/>
            <ac:picMk id="8194" creationId="{36CAD166-DBB2-43A5-A314-E43342584482}"/>
          </ac:picMkLst>
        </pc:picChg>
        <pc:picChg chg="add del mod">
          <ac:chgData name="Maurizio Ragusa" userId="7116ddc8-25eb-4c36-8910-62a6a26d8117" providerId="ADAL" clId="{7EBCB12D-1FBE-45F5-85C0-0E10B5B53851}" dt="2020-12-10T15:35:11.632" v="657" actId="478"/>
          <ac:picMkLst>
            <pc:docMk/>
            <pc:sldMk cId="3663931860" sldId="291"/>
            <ac:picMk id="8196" creationId="{C9CF054E-4B44-4CF2-9C8D-8E0254C1DA14}"/>
          </ac:picMkLst>
        </pc:picChg>
        <pc:picChg chg="add del mod">
          <ac:chgData name="Maurizio Ragusa" userId="7116ddc8-25eb-4c36-8910-62a6a26d8117" providerId="ADAL" clId="{7EBCB12D-1FBE-45F5-85C0-0E10B5B53851}" dt="2020-12-10T15:36:55.337" v="660" actId="478"/>
          <ac:picMkLst>
            <pc:docMk/>
            <pc:sldMk cId="3663931860" sldId="291"/>
            <ac:picMk id="8198" creationId="{1CAB83C3-9381-4356-86A7-D726279977E9}"/>
          </ac:picMkLst>
        </pc:picChg>
        <pc:picChg chg="add mod">
          <ac:chgData name="Maurizio Ragusa" userId="7116ddc8-25eb-4c36-8910-62a6a26d8117" providerId="ADAL" clId="{7EBCB12D-1FBE-45F5-85C0-0E10B5B53851}" dt="2020-12-10T15:37:01.294" v="662" actId="1076"/>
          <ac:picMkLst>
            <pc:docMk/>
            <pc:sldMk cId="3663931860" sldId="291"/>
            <ac:picMk id="8200" creationId="{78BBD397-8FB6-4E09-8E20-784BA6AB92AA}"/>
          </ac:picMkLst>
        </pc:picChg>
      </pc:sldChg>
      <pc:sldChg chg="del">
        <pc:chgData name="Maurizio Ragusa" userId="7116ddc8-25eb-4c36-8910-62a6a26d8117" providerId="ADAL" clId="{7EBCB12D-1FBE-45F5-85C0-0E10B5B53851}" dt="2020-12-09T14:14:43.875" v="48" actId="2696"/>
        <pc:sldMkLst>
          <pc:docMk/>
          <pc:sldMk cId="1027902939" sldId="292"/>
        </pc:sldMkLst>
      </pc:sldChg>
      <pc:sldChg chg="addSp delSp modSp add mod">
        <pc:chgData name="Maurizio Ragusa" userId="7116ddc8-25eb-4c36-8910-62a6a26d8117" providerId="ADAL" clId="{7EBCB12D-1FBE-45F5-85C0-0E10B5B53851}" dt="2020-12-10T19:24:01.076" v="1434" actId="20577"/>
        <pc:sldMkLst>
          <pc:docMk/>
          <pc:sldMk cId="2414716871" sldId="292"/>
        </pc:sldMkLst>
        <pc:spChg chg="mod">
          <ac:chgData name="Maurizio Ragusa" userId="7116ddc8-25eb-4c36-8910-62a6a26d8117" providerId="ADAL" clId="{7EBCB12D-1FBE-45F5-85C0-0E10B5B53851}" dt="2020-12-10T19:03:18.325" v="896" actId="20577"/>
          <ac:spMkLst>
            <pc:docMk/>
            <pc:sldMk cId="2414716871" sldId="292"/>
            <ac:spMk id="2" creationId="{8268C7F0-47D3-4E88-8FAF-126D776250AB}"/>
          </ac:spMkLst>
        </pc:spChg>
        <pc:spChg chg="del">
          <ac:chgData name="Maurizio Ragusa" userId="7116ddc8-25eb-4c36-8910-62a6a26d8117" providerId="ADAL" clId="{7EBCB12D-1FBE-45F5-85C0-0E10B5B53851}" dt="2020-12-10T19:04:14.818" v="924" actId="478"/>
          <ac:spMkLst>
            <pc:docMk/>
            <pc:sldMk cId="2414716871" sldId="292"/>
            <ac:spMk id="3" creationId="{B65120E1-0F13-4E31-A132-80CD73BE0E22}"/>
          </ac:spMkLst>
        </pc:spChg>
        <pc:spChg chg="add mod">
          <ac:chgData name="Maurizio Ragusa" userId="7116ddc8-25eb-4c36-8910-62a6a26d8117" providerId="ADAL" clId="{7EBCB12D-1FBE-45F5-85C0-0E10B5B53851}" dt="2020-12-10T19:06:24.108" v="1092" actId="1076"/>
          <ac:spMkLst>
            <pc:docMk/>
            <pc:sldMk cId="2414716871" sldId="292"/>
            <ac:spMk id="4" creationId="{51356FAC-82D1-41EC-A22F-B89708EEF58B}"/>
          </ac:spMkLst>
        </pc:spChg>
        <pc:spChg chg="add mod">
          <ac:chgData name="Maurizio Ragusa" userId="7116ddc8-25eb-4c36-8910-62a6a26d8117" providerId="ADAL" clId="{7EBCB12D-1FBE-45F5-85C0-0E10B5B53851}" dt="2020-12-10T19:24:01.076" v="1434" actId="20577"/>
          <ac:spMkLst>
            <pc:docMk/>
            <pc:sldMk cId="2414716871" sldId="292"/>
            <ac:spMk id="5" creationId="{2C87A22F-D2B8-4E6D-A093-87646947B0D2}"/>
          </ac:spMkLst>
        </pc:spChg>
        <pc:spChg chg="mod">
          <ac:chgData name="Maurizio Ragusa" userId="7116ddc8-25eb-4c36-8910-62a6a26d8117" providerId="ADAL" clId="{7EBCB12D-1FBE-45F5-85C0-0E10B5B53851}" dt="2020-12-10T19:03:34.821" v="919" actId="20577"/>
          <ac:spMkLst>
            <pc:docMk/>
            <pc:sldMk cId="2414716871" sldId="292"/>
            <ac:spMk id="7" creationId="{C2B3AAD5-72E9-49EB-9AFB-C460F19B49CD}"/>
          </ac:spMkLst>
        </pc:spChg>
        <pc:picChg chg="del">
          <ac:chgData name="Maurizio Ragusa" userId="7116ddc8-25eb-4c36-8910-62a6a26d8117" providerId="ADAL" clId="{7EBCB12D-1FBE-45F5-85C0-0E10B5B53851}" dt="2020-12-10T19:03:42.343" v="920" actId="478"/>
          <ac:picMkLst>
            <pc:docMk/>
            <pc:sldMk cId="2414716871" sldId="292"/>
            <ac:picMk id="8200" creationId="{78BBD397-8FB6-4E09-8E20-784BA6AB92AA}"/>
          </ac:picMkLst>
        </pc:picChg>
        <pc:picChg chg="add mod">
          <ac:chgData name="Maurizio Ragusa" userId="7116ddc8-25eb-4c36-8910-62a6a26d8117" providerId="ADAL" clId="{7EBCB12D-1FBE-45F5-85C0-0E10B5B53851}" dt="2020-12-10T19:13:52.334" v="1216" actId="1076"/>
          <ac:picMkLst>
            <pc:docMk/>
            <pc:sldMk cId="2414716871" sldId="292"/>
            <ac:picMk id="9218" creationId="{C1C16562-68D5-4535-ABDA-FEC2A8646F38}"/>
          </ac:picMkLst>
        </pc:picChg>
      </pc:sldChg>
      <pc:sldChg chg="addSp delSp modSp add mod ord">
        <pc:chgData name="Maurizio Ragusa" userId="7116ddc8-25eb-4c36-8910-62a6a26d8117" providerId="ADAL" clId="{7EBCB12D-1FBE-45F5-85C0-0E10B5B53851}" dt="2020-12-14T11:13:02.552" v="7840" actId="20577"/>
        <pc:sldMkLst>
          <pc:docMk/>
          <pc:sldMk cId="3117223948" sldId="293"/>
        </pc:sldMkLst>
        <pc:spChg chg="del">
          <ac:chgData name="Maurizio Ragusa" userId="7116ddc8-25eb-4c36-8910-62a6a26d8117" providerId="ADAL" clId="{7EBCB12D-1FBE-45F5-85C0-0E10B5B53851}" dt="2020-12-10T19:13:24.063" v="1214" actId="478"/>
          <ac:spMkLst>
            <pc:docMk/>
            <pc:sldMk cId="3117223948" sldId="293"/>
            <ac:spMk id="3" creationId="{B65120E1-0F13-4E31-A132-80CD73BE0E22}"/>
          </ac:spMkLst>
        </pc:spChg>
        <pc:spChg chg="add del mod">
          <ac:chgData name="Maurizio Ragusa" userId="7116ddc8-25eb-4c36-8910-62a6a26d8117" providerId="ADAL" clId="{7EBCB12D-1FBE-45F5-85C0-0E10B5B53851}" dt="2020-12-10T19:09:36.418" v="1117"/>
          <ac:spMkLst>
            <pc:docMk/>
            <pc:sldMk cId="3117223948" sldId="293"/>
            <ac:spMk id="4" creationId="{C1C99AD3-5700-4560-99BD-120BABECEBA0}"/>
          </ac:spMkLst>
        </pc:spChg>
        <pc:spChg chg="add mod">
          <ac:chgData name="Maurizio Ragusa" userId="7116ddc8-25eb-4c36-8910-62a6a26d8117" providerId="ADAL" clId="{7EBCB12D-1FBE-45F5-85C0-0E10B5B53851}" dt="2020-12-14T11:13:02.552" v="7840" actId="20577"/>
          <ac:spMkLst>
            <pc:docMk/>
            <pc:sldMk cId="3117223948" sldId="293"/>
            <ac:spMk id="5" creationId="{A57969B1-C891-47AB-98F2-12459B7A0C6A}"/>
          </ac:spMkLst>
        </pc:spChg>
        <pc:spChg chg="add mod">
          <ac:chgData name="Maurizio Ragusa" userId="7116ddc8-25eb-4c36-8910-62a6a26d8117" providerId="ADAL" clId="{7EBCB12D-1FBE-45F5-85C0-0E10B5B53851}" dt="2020-12-14T11:09:47.062" v="7774" actId="1076"/>
          <ac:spMkLst>
            <pc:docMk/>
            <pc:sldMk cId="3117223948" sldId="293"/>
            <ac:spMk id="6" creationId="{759A4943-2029-412B-BA6B-5E1F3F940AF6}"/>
          </ac:spMkLst>
        </pc:spChg>
        <pc:spChg chg="mod">
          <ac:chgData name="Maurizio Ragusa" userId="7116ddc8-25eb-4c36-8910-62a6a26d8117" providerId="ADAL" clId="{7EBCB12D-1FBE-45F5-85C0-0E10B5B53851}" dt="2020-12-10T19:08:15.886" v="1113" actId="20577"/>
          <ac:spMkLst>
            <pc:docMk/>
            <pc:sldMk cId="3117223948" sldId="293"/>
            <ac:spMk id="7" creationId="{C2B3AAD5-72E9-49EB-9AFB-C460F19B49CD}"/>
          </ac:spMkLst>
        </pc:spChg>
        <pc:spChg chg="add del mod">
          <ac:chgData name="Maurizio Ragusa" userId="7116ddc8-25eb-4c36-8910-62a6a26d8117" providerId="ADAL" clId="{7EBCB12D-1FBE-45F5-85C0-0E10B5B53851}" dt="2020-12-10T19:33:31.955" v="1605" actId="478"/>
          <ac:spMkLst>
            <pc:docMk/>
            <pc:sldMk cId="3117223948" sldId="293"/>
            <ac:spMk id="8" creationId="{AE665ED8-2485-4CDC-8A37-E5759D0A6C95}"/>
          </ac:spMkLst>
        </pc:spChg>
        <pc:spChg chg="add del mod">
          <ac:chgData name="Maurizio Ragusa" userId="7116ddc8-25eb-4c36-8910-62a6a26d8117" providerId="ADAL" clId="{7EBCB12D-1FBE-45F5-85C0-0E10B5B53851}" dt="2020-12-10T19:33:29.907" v="1604" actId="478"/>
          <ac:spMkLst>
            <pc:docMk/>
            <pc:sldMk cId="3117223948" sldId="293"/>
            <ac:spMk id="10" creationId="{C5EFBBFD-BD9B-4B8F-B2B5-F3C5C521EE49}"/>
          </ac:spMkLst>
        </pc:spChg>
        <pc:picChg chg="del mod">
          <ac:chgData name="Maurizio Ragusa" userId="7116ddc8-25eb-4c36-8910-62a6a26d8117" providerId="ADAL" clId="{7EBCB12D-1FBE-45F5-85C0-0E10B5B53851}" dt="2020-12-10T19:13:20.671" v="1213" actId="478"/>
          <ac:picMkLst>
            <pc:docMk/>
            <pc:sldMk cId="3117223948" sldId="293"/>
            <ac:picMk id="8200" creationId="{78BBD397-8FB6-4E09-8E20-784BA6AB92AA}"/>
          </ac:picMkLst>
        </pc:picChg>
        <pc:picChg chg="add mod">
          <ac:chgData name="Maurizio Ragusa" userId="7116ddc8-25eb-4c36-8910-62a6a26d8117" providerId="ADAL" clId="{7EBCB12D-1FBE-45F5-85C0-0E10B5B53851}" dt="2020-12-10T19:35:30.547" v="1611" actId="1076"/>
          <ac:picMkLst>
            <pc:docMk/>
            <pc:sldMk cId="3117223948" sldId="293"/>
            <ac:picMk id="10242" creationId="{2842F07F-85B8-4950-A321-8CFAF1520FBF}"/>
          </ac:picMkLst>
        </pc:picChg>
      </pc:sldChg>
      <pc:sldChg chg="del">
        <pc:chgData name="Maurizio Ragusa" userId="7116ddc8-25eb-4c36-8910-62a6a26d8117" providerId="ADAL" clId="{7EBCB12D-1FBE-45F5-85C0-0E10B5B53851}" dt="2020-12-09T14:14:43.875" v="48" actId="2696"/>
        <pc:sldMkLst>
          <pc:docMk/>
          <pc:sldMk cId="3435360593" sldId="293"/>
        </pc:sldMkLst>
      </pc:sldChg>
      <pc:sldChg chg="del">
        <pc:chgData name="Maurizio Ragusa" userId="7116ddc8-25eb-4c36-8910-62a6a26d8117" providerId="ADAL" clId="{7EBCB12D-1FBE-45F5-85C0-0E10B5B53851}" dt="2020-12-09T14:14:43.875" v="48" actId="2696"/>
        <pc:sldMkLst>
          <pc:docMk/>
          <pc:sldMk cId="1387362155" sldId="294"/>
        </pc:sldMkLst>
      </pc:sldChg>
      <pc:sldChg chg="addSp delSp modSp add mod ord">
        <pc:chgData name="Maurizio Ragusa" userId="7116ddc8-25eb-4c36-8910-62a6a26d8117" providerId="ADAL" clId="{7EBCB12D-1FBE-45F5-85C0-0E10B5B53851}" dt="2020-12-14T11:53:01.929" v="8028"/>
        <pc:sldMkLst>
          <pc:docMk/>
          <pc:sldMk cId="4154436283" sldId="294"/>
        </pc:sldMkLst>
        <pc:spChg chg="mod">
          <ac:chgData name="Maurizio Ragusa" userId="7116ddc8-25eb-4c36-8910-62a6a26d8117" providerId="ADAL" clId="{7EBCB12D-1FBE-45F5-85C0-0E10B5B53851}" dt="2020-12-11T11:02:59.545" v="1817" actId="1076"/>
          <ac:spMkLst>
            <pc:docMk/>
            <pc:sldMk cId="4154436283" sldId="294"/>
            <ac:spMk id="5" creationId="{A57969B1-C891-47AB-98F2-12459B7A0C6A}"/>
          </ac:spMkLst>
        </pc:spChg>
        <pc:spChg chg="del">
          <ac:chgData name="Maurizio Ragusa" userId="7116ddc8-25eb-4c36-8910-62a6a26d8117" providerId="ADAL" clId="{7EBCB12D-1FBE-45F5-85C0-0E10B5B53851}" dt="2020-12-11T10:29:41.752" v="1754" actId="478"/>
          <ac:spMkLst>
            <pc:docMk/>
            <pc:sldMk cId="4154436283" sldId="294"/>
            <ac:spMk id="6" creationId="{759A4943-2029-412B-BA6B-5E1F3F940AF6}"/>
          </ac:spMkLst>
        </pc:spChg>
        <pc:spChg chg="mod">
          <ac:chgData name="Maurizio Ragusa" userId="7116ddc8-25eb-4c36-8910-62a6a26d8117" providerId="ADAL" clId="{7EBCB12D-1FBE-45F5-85C0-0E10B5B53851}" dt="2020-12-11T10:29:06.323" v="1753" actId="20577"/>
          <ac:spMkLst>
            <pc:docMk/>
            <pc:sldMk cId="4154436283" sldId="294"/>
            <ac:spMk id="7" creationId="{C2B3AAD5-72E9-49EB-9AFB-C460F19B49CD}"/>
          </ac:spMkLst>
        </pc:spChg>
        <pc:spChg chg="add mod">
          <ac:chgData name="Maurizio Ragusa" userId="7116ddc8-25eb-4c36-8910-62a6a26d8117" providerId="ADAL" clId="{7EBCB12D-1FBE-45F5-85C0-0E10B5B53851}" dt="2020-12-11T11:03:13.587" v="1824" actId="1076"/>
          <ac:spMkLst>
            <pc:docMk/>
            <pc:sldMk cId="4154436283" sldId="294"/>
            <ac:spMk id="12" creationId="{7C9A7036-26D0-4C60-BF13-67487B17F1E6}"/>
          </ac:spMkLst>
        </pc:spChg>
        <pc:picChg chg="add mod">
          <ac:chgData name="Maurizio Ragusa" userId="7116ddc8-25eb-4c36-8910-62a6a26d8117" providerId="ADAL" clId="{7EBCB12D-1FBE-45F5-85C0-0E10B5B53851}" dt="2020-12-11T10:34:52.511" v="1765" actId="1076"/>
          <ac:picMkLst>
            <pc:docMk/>
            <pc:sldMk cId="4154436283" sldId="294"/>
            <ac:picMk id="4098" creationId="{4A7036BF-8EEC-4FF9-9697-FB606BEBC999}"/>
          </ac:picMkLst>
        </pc:picChg>
        <pc:picChg chg="add del mod">
          <ac:chgData name="Maurizio Ragusa" userId="7116ddc8-25eb-4c36-8910-62a6a26d8117" providerId="ADAL" clId="{7EBCB12D-1FBE-45F5-85C0-0E10B5B53851}" dt="2020-12-11T10:38:53.020" v="1770" actId="478"/>
          <ac:picMkLst>
            <pc:docMk/>
            <pc:sldMk cId="4154436283" sldId="294"/>
            <ac:picMk id="4100" creationId="{9B0325C8-27E1-44A2-B6CC-A37B92EC36C9}"/>
          </ac:picMkLst>
        </pc:picChg>
        <pc:picChg chg="add mod">
          <ac:chgData name="Maurizio Ragusa" userId="7116ddc8-25eb-4c36-8910-62a6a26d8117" providerId="ADAL" clId="{7EBCB12D-1FBE-45F5-85C0-0E10B5B53851}" dt="2020-12-11T10:39:33.839" v="1777" actId="1076"/>
          <ac:picMkLst>
            <pc:docMk/>
            <pc:sldMk cId="4154436283" sldId="294"/>
            <ac:picMk id="4102" creationId="{DA65C423-4251-4338-987B-3D617FF4D156}"/>
          </ac:picMkLst>
        </pc:picChg>
        <pc:picChg chg="add mod">
          <ac:chgData name="Maurizio Ragusa" userId="7116ddc8-25eb-4c36-8910-62a6a26d8117" providerId="ADAL" clId="{7EBCB12D-1FBE-45F5-85C0-0E10B5B53851}" dt="2020-12-11T10:45:14.547" v="1783" actId="1076"/>
          <ac:picMkLst>
            <pc:docMk/>
            <pc:sldMk cId="4154436283" sldId="294"/>
            <ac:picMk id="4104" creationId="{224B50D0-800D-4AFE-A69A-B84CD6F8C70C}"/>
          </ac:picMkLst>
        </pc:picChg>
        <pc:picChg chg="add mod">
          <ac:chgData name="Maurizio Ragusa" userId="7116ddc8-25eb-4c36-8910-62a6a26d8117" providerId="ADAL" clId="{7EBCB12D-1FBE-45F5-85C0-0E10B5B53851}" dt="2020-12-11T11:02:31.204" v="1791" actId="1076"/>
          <ac:picMkLst>
            <pc:docMk/>
            <pc:sldMk cId="4154436283" sldId="294"/>
            <ac:picMk id="4106" creationId="{F5D29BA5-4221-4E33-A4D2-3B78D503D046}"/>
          </ac:picMkLst>
        </pc:picChg>
        <pc:picChg chg="del">
          <ac:chgData name="Maurizio Ragusa" userId="7116ddc8-25eb-4c36-8910-62a6a26d8117" providerId="ADAL" clId="{7EBCB12D-1FBE-45F5-85C0-0E10B5B53851}" dt="2020-12-11T10:37:45.712" v="1766" actId="478"/>
          <ac:picMkLst>
            <pc:docMk/>
            <pc:sldMk cId="4154436283" sldId="294"/>
            <ac:picMk id="10242" creationId="{2842F07F-85B8-4950-A321-8CFAF1520FBF}"/>
          </ac:picMkLst>
        </pc:picChg>
      </pc:sldChg>
      <pc:sldChg chg="addSp delSp modSp add mod ord">
        <pc:chgData name="Maurizio Ragusa" userId="7116ddc8-25eb-4c36-8910-62a6a26d8117" providerId="ADAL" clId="{7EBCB12D-1FBE-45F5-85C0-0E10B5B53851}" dt="2020-12-14T11:13:09.679" v="7842" actId="20577"/>
        <pc:sldMkLst>
          <pc:docMk/>
          <pc:sldMk cId="1794913108" sldId="295"/>
        </pc:sldMkLst>
        <pc:spChg chg="add del mod">
          <ac:chgData name="Maurizio Ragusa" userId="7116ddc8-25eb-4c36-8910-62a6a26d8117" providerId="ADAL" clId="{7EBCB12D-1FBE-45F5-85C0-0E10B5B53851}" dt="2020-12-11T12:00:17.129" v="2104" actId="478"/>
          <ac:spMkLst>
            <pc:docMk/>
            <pc:sldMk cId="1794913108" sldId="295"/>
            <ac:spMk id="3" creationId="{2CA277C3-F70F-431C-A34E-57DB9C35C8E5}"/>
          </ac:spMkLst>
        </pc:spChg>
        <pc:spChg chg="mod">
          <ac:chgData name="Maurizio Ragusa" userId="7116ddc8-25eb-4c36-8910-62a6a26d8117" providerId="ADAL" clId="{7EBCB12D-1FBE-45F5-85C0-0E10B5B53851}" dt="2020-12-14T11:13:09.679" v="7842" actId="20577"/>
          <ac:spMkLst>
            <pc:docMk/>
            <pc:sldMk cId="1794913108" sldId="295"/>
            <ac:spMk id="5" creationId="{A57969B1-C891-47AB-98F2-12459B7A0C6A}"/>
          </ac:spMkLst>
        </pc:spChg>
        <pc:spChg chg="mod">
          <ac:chgData name="Maurizio Ragusa" userId="7116ddc8-25eb-4c36-8910-62a6a26d8117" providerId="ADAL" clId="{7EBCB12D-1FBE-45F5-85C0-0E10B5B53851}" dt="2020-12-11T11:59:22.103" v="2042" actId="20577"/>
          <ac:spMkLst>
            <pc:docMk/>
            <pc:sldMk cId="1794913108" sldId="295"/>
            <ac:spMk id="6" creationId="{759A4943-2029-412B-BA6B-5E1F3F940AF6}"/>
          </ac:spMkLst>
        </pc:spChg>
        <pc:spChg chg="mod">
          <ac:chgData name="Maurizio Ragusa" userId="7116ddc8-25eb-4c36-8910-62a6a26d8117" providerId="ADAL" clId="{7EBCB12D-1FBE-45F5-85C0-0E10B5B53851}" dt="2020-12-11T11:36:17.666" v="1865" actId="20577"/>
          <ac:spMkLst>
            <pc:docMk/>
            <pc:sldMk cId="1794913108" sldId="295"/>
            <ac:spMk id="7" creationId="{C2B3AAD5-72E9-49EB-9AFB-C460F19B49CD}"/>
          </ac:spMkLst>
        </pc:spChg>
        <pc:picChg chg="add del mod">
          <ac:chgData name="Maurizio Ragusa" userId="7116ddc8-25eb-4c36-8910-62a6a26d8117" providerId="ADAL" clId="{7EBCB12D-1FBE-45F5-85C0-0E10B5B53851}" dt="2020-12-11T12:05:11.800" v="2105" actId="478"/>
          <ac:picMkLst>
            <pc:docMk/>
            <pc:sldMk cId="1794913108" sldId="295"/>
            <ac:picMk id="5122" creationId="{730CBD96-73B3-47CC-80F8-2D39250E3AE5}"/>
          </ac:picMkLst>
        </pc:picChg>
        <pc:picChg chg="add del mod">
          <ac:chgData name="Maurizio Ragusa" userId="7116ddc8-25eb-4c36-8910-62a6a26d8117" providerId="ADAL" clId="{7EBCB12D-1FBE-45F5-85C0-0E10B5B53851}" dt="2020-12-11T12:07:20.910" v="2120" actId="478"/>
          <ac:picMkLst>
            <pc:docMk/>
            <pc:sldMk cId="1794913108" sldId="295"/>
            <ac:picMk id="5124" creationId="{3413B7F1-6164-4974-9257-1ABA5875E843}"/>
          </ac:picMkLst>
        </pc:picChg>
        <pc:picChg chg="add mod">
          <ac:chgData name="Maurizio Ragusa" userId="7116ddc8-25eb-4c36-8910-62a6a26d8117" providerId="ADAL" clId="{7EBCB12D-1FBE-45F5-85C0-0E10B5B53851}" dt="2020-12-11T12:06:24.372" v="2119" actId="1076"/>
          <ac:picMkLst>
            <pc:docMk/>
            <pc:sldMk cId="1794913108" sldId="295"/>
            <ac:picMk id="5126" creationId="{B1D29470-0FD3-4B83-BADD-7D9F9519D405}"/>
          </ac:picMkLst>
        </pc:picChg>
        <pc:picChg chg="add del mod">
          <ac:chgData name="Maurizio Ragusa" userId="7116ddc8-25eb-4c36-8910-62a6a26d8117" providerId="ADAL" clId="{7EBCB12D-1FBE-45F5-85C0-0E10B5B53851}" dt="2020-12-11T12:09:37.727" v="2126" actId="478"/>
          <ac:picMkLst>
            <pc:docMk/>
            <pc:sldMk cId="1794913108" sldId="295"/>
            <ac:picMk id="5128" creationId="{E3256FAB-F8DD-477F-A6FB-27A0BD7501A9}"/>
          </ac:picMkLst>
        </pc:picChg>
        <pc:picChg chg="add mod">
          <ac:chgData name="Maurizio Ragusa" userId="7116ddc8-25eb-4c36-8910-62a6a26d8117" providerId="ADAL" clId="{7EBCB12D-1FBE-45F5-85C0-0E10B5B53851}" dt="2020-12-11T12:09:47.400" v="2130" actId="1076"/>
          <ac:picMkLst>
            <pc:docMk/>
            <pc:sldMk cId="1794913108" sldId="295"/>
            <ac:picMk id="5130" creationId="{45AE8EB5-3959-4C78-A3E9-FEC158FB6D72}"/>
          </ac:picMkLst>
        </pc:picChg>
        <pc:picChg chg="del">
          <ac:chgData name="Maurizio Ragusa" userId="7116ddc8-25eb-4c36-8910-62a6a26d8117" providerId="ADAL" clId="{7EBCB12D-1FBE-45F5-85C0-0E10B5B53851}" dt="2020-12-11T11:41:16.276" v="1956" actId="478"/>
          <ac:picMkLst>
            <pc:docMk/>
            <pc:sldMk cId="1794913108" sldId="295"/>
            <ac:picMk id="10242" creationId="{2842F07F-85B8-4950-A321-8CFAF1520FBF}"/>
          </ac:picMkLst>
        </pc:picChg>
      </pc:sldChg>
      <pc:sldChg chg="modSp add del mod">
        <pc:chgData name="Maurizio Ragusa" userId="7116ddc8-25eb-4c36-8910-62a6a26d8117" providerId="ADAL" clId="{7EBCB12D-1FBE-45F5-85C0-0E10B5B53851}" dt="2020-12-14T11:44:33.906" v="8026" actId="2696"/>
        <pc:sldMkLst>
          <pc:docMk/>
          <pc:sldMk cId="1764437967" sldId="296"/>
        </pc:sldMkLst>
        <pc:spChg chg="mod">
          <ac:chgData name="Maurizio Ragusa" userId="7116ddc8-25eb-4c36-8910-62a6a26d8117" providerId="ADAL" clId="{7EBCB12D-1FBE-45F5-85C0-0E10B5B53851}" dt="2020-12-14T11:13:15.271" v="7844" actId="20577"/>
          <ac:spMkLst>
            <pc:docMk/>
            <pc:sldMk cId="1764437967" sldId="296"/>
            <ac:spMk id="5" creationId="{A57969B1-C891-47AB-98F2-12459B7A0C6A}"/>
          </ac:spMkLst>
        </pc:spChg>
        <pc:spChg chg="mod">
          <ac:chgData name="Maurizio Ragusa" userId="7116ddc8-25eb-4c36-8910-62a6a26d8117" providerId="ADAL" clId="{7EBCB12D-1FBE-45F5-85C0-0E10B5B53851}" dt="2020-12-11T13:35:19.259" v="2142" actId="20577"/>
          <ac:spMkLst>
            <pc:docMk/>
            <pc:sldMk cId="1764437967" sldId="296"/>
            <ac:spMk id="7" creationId="{C2B3AAD5-72E9-49EB-9AFB-C460F19B49CD}"/>
          </ac:spMkLst>
        </pc:spChg>
      </pc:sldChg>
      <pc:sldChg chg="addSp delSp modSp add mod">
        <pc:chgData name="Maurizio Ragusa" userId="7116ddc8-25eb-4c36-8910-62a6a26d8117" providerId="ADAL" clId="{7EBCB12D-1FBE-45F5-85C0-0E10B5B53851}" dt="2020-12-13T16:10:37.317" v="5382" actId="1076"/>
        <pc:sldMkLst>
          <pc:docMk/>
          <pc:sldMk cId="3448770466" sldId="297"/>
        </pc:sldMkLst>
        <pc:spChg chg="mod">
          <ac:chgData name="Maurizio Ragusa" userId="7116ddc8-25eb-4c36-8910-62a6a26d8117" providerId="ADAL" clId="{7EBCB12D-1FBE-45F5-85C0-0E10B5B53851}" dt="2020-12-12T12:53:04.753" v="4855" actId="20577"/>
          <ac:spMkLst>
            <pc:docMk/>
            <pc:sldMk cId="3448770466" sldId="297"/>
            <ac:spMk id="2" creationId="{8268C7F0-47D3-4E88-8FAF-126D776250AB}"/>
          </ac:spMkLst>
        </pc:spChg>
        <pc:spChg chg="add mod">
          <ac:chgData name="Maurizio Ragusa" userId="7116ddc8-25eb-4c36-8910-62a6a26d8117" providerId="ADAL" clId="{7EBCB12D-1FBE-45F5-85C0-0E10B5B53851}" dt="2020-12-13T16:10:32.075" v="5381" actId="20577"/>
          <ac:spMkLst>
            <pc:docMk/>
            <pc:sldMk cId="3448770466" sldId="297"/>
            <ac:spMk id="3" creationId="{AA2B6E6A-92FB-4910-A680-66BB91E8AEAB}"/>
          </ac:spMkLst>
        </pc:spChg>
        <pc:spChg chg="add del">
          <ac:chgData name="Maurizio Ragusa" userId="7116ddc8-25eb-4c36-8910-62a6a26d8117" providerId="ADAL" clId="{7EBCB12D-1FBE-45F5-85C0-0E10B5B53851}" dt="2020-12-11T15:00:15.855" v="2830"/>
          <ac:spMkLst>
            <pc:docMk/>
            <pc:sldMk cId="3448770466" sldId="297"/>
            <ac:spMk id="4" creationId="{A8BF3567-E17D-4A13-882E-6F68BB92EB55}"/>
          </ac:spMkLst>
        </pc:spChg>
        <pc:spChg chg="del mod">
          <ac:chgData name="Maurizio Ragusa" userId="7116ddc8-25eb-4c36-8910-62a6a26d8117" providerId="ADAL" clId="{7EBCB12D-1FBE-45F5-85C0-0E10B5B53851}" dt="2020-12-11T13:46:03.812" v="2155" actId="478"/>
          <ac:spMkLst>
            <pc:docMk/>
            <pc:sldMk cId="3448770466" sldId="297"/>
            <ac:spMk id="5" creationId="{A57969B1-C891-47AB-98F2-12459B7A0C6A}"/>
          </ac:spMkLst>
        </pc:spChg>
        <pc:spChg chg="add del mod">
          <ac:chgData name="Maurizio Ragusa" userId="7116ddc8-25eb-4c36-8910-62a6a26d8117" providerId="ADAL" clId="{7EBCB12D-1FBE-45F5-85C0-0E10B5B53851}" dt="2020-12-12T12:53:36.337" v="4885" actId="5793"/>
          <ac:spMkLst>
            <pc:docMk/>
            <pc:sldMk cId="3448770466" sldId="297"/>
            <ac:spMk id="6" creationId="{759A4943-2029-412B-BA6B-5E1F3F940AF6}"/>
          </ac:spMkLst>
        </pc:spChg>
        <pc:spChg chg="mod">
          <ac:chgData name="Maurizio Ragusa" userId="7116ddc8-25eb-4c36-8910-62a6a26d8117" providerId="ADAL" clId="{7EBCB12D-1FBE-45F5-85C0-0E10B5B53851}" dt="2020-12-11T14:12:24.056" v="2606" actId="1076"/>
          <ac:spMkLst>
            <pc:docMk/>
            <pc:sldMk cId="3448770466" sldId="297"/>
            <ac:spMk id="7" creationId="{C2B3AAD5-72E9-49EB-9AFB-C460F19B49CD}"/>
          </ac:spMkLst>
        </pc:spChg>
        <pc:spChg chg="add mod">
          <ac:chgData name="Maurizio Ragusa" userId="7116ddc8-25eb-4c36-8910-62a6a26d8117" providerId="ADAL" clId="{7EBCB12D-1FBE-45F5-85C0-0E10B5B53851}" dt="2020-12-11T14:12:24.056" v="2606" actId="1076"/>
          <ac:spMkLst>
            <pc:docMk/>
            <pc:sldMk cId="3448770466" sldId="297"/>
            <ac:spMk id="9" creationId="{B40FA71D-A7E9-4640-BC29-9C233756E962}"/>
          </ac:spMkLst>
        </pc:spChg>
        <pc:spChg chg="add mod">
          <ac:chgData name="Maurizio Ragusa" userId="7116ddc8-25eb-4c36-8910-62a6a26d8117" providerId="ADAL" clId="{7EBCB12D-1FBE-45F5-85C0-0E10B5B53851}" dt="2020-12-11T14:18:08.157" v="2632" actId="1076"/>
          <ac:spMkLst>
            <pc:docMk/>
            <pc:sldMk cId="3448770466" sldId="297"/>
            <ac:spMk id="10" creationId="{2546009A-428C-4FB1-B373-3F61A4C222AD}"/>
          </ac:spMkLst>
        </pc:spChg>
        <pc:spChg chg="add mod">
          <ac:chgData name="Maurizio Ragusa" userId="7116ddc8-25eb-4c36-8910-62a6a26d8117" providerId="ADAL" clId="{7EBCB12D-1FBE-45F5-85C0-0E10B5B53851}" dt="2020-12-13T16:10:37.317" v="5382" actId="1076"/>
          <ac:spMkLst>
            <pc:docMk/>
            <pc:sldMk cId="3448770466" sldId="297"/>
            <ac:spMk id="13" creationId="{26FB3D6E-2FDC-4D2E-8A28-44740EEB8FB5}"/>
          </ac:spMkLst>
        </pc:spChg>
        <pc:picChg chg="del">
          <ac:chgData name="Maurizio Ragusa" userId="7116ddc8-25eb-4c36-8910-62a6a26d8117" providerId="ADAL" clId="{7EBCB12D-1FBE-45F5-85C0-0E10B5B53851}" dt="2020-12-11T13:43:14.838" v="2153" actId="478"/>
          <ac:picMkLst>
            <pc:docMk/>
            <pc:sldMk cId="3448770466" sldId="297"/>
            <ac:picMk id="5126" creationId="{B1D29470-0FD3-4B83-BADD-7D9F9519D405}"/>
          </ac:picMkLst>
        </pc:picChg>
        <pc:picChg chg="del">
          <ac:chgData name="Maurizio Ragusa" userId="7116ddc8-25eb-4c36-8910-62a6a26d8117" providerId="ADAL" clId="{7EBCB12D-1FBE-45F5-85C0-0E10B5B53851}" dt="2020-12-11T13:43:13.987" v="2152" actId="478"/>
          <ac:picMkLst>
            <pc:docMk/>
            <pc:sldMk cId="3448770466" sldId="297"/>
            <ac:picMk id="5130" creationId="{45AE8EB5-3959-4C78-A3E9-FEC158FB6D72}"/>
          </ac:picMkLst>
        </pc:picChg>
        <pc:picChg chg="add del">
          <ac:chgData name="Maurizio Ragusa" userId="7116ddc8-25eb-4c36-8910-62a6a26d8117" providerId="ADAL" clId="{7EBCB12D-1FBE-45F5-85C0-0E10B5B53851}" dt="2020-12-11T14:02:02.829" v="2283"/>
          <ac:picMkLst>
            <pc:docMk/>
            <pc:sldMk cId="3448770466" sldId="297"/>
            <ac:picMk id="6146" creationId="{B25ED078-1B26-4155-B322-CBCD63DB29B1}"/>
          </ac:picMkLst>
        </pc:picChg>
      </pc:sldChg>
      <pc:sldChg chg="addSp delSp modSp add del mod">
        <pc:chgData name="Maurizio Ragusa" userId="7116ddc8-25eb-4c36-8910-62a6a26d8117" providerId="ADAL" clId="{7EBCB12D-1FBE-45F5-85C0-0E10B5B53851}" dt="2020-12-14T12:05:17.450" v="8106" actId="2696"/>
        <pc:sldMkLst>
          <pc:docMk/>
          <pc:sldMk cId="3575888733" sldId="298"/>
        </pc:sldMkLst>
        <pc:spChg chg="mod">
          <ac:chgData name="Maurizio Ragusa" userId="7116ddc8-25eb-4c36-8910-62a6a26d8117" providerId="ADAL" clId="{7EBCB12D-1FBE-45F5-85C0-0E10B5B53851}" dt="2020-12-11T14:19:08.368" v="2643" actId="20577"/>
          <ac:spMkLst>
            <pc:docMk/>
            <pc:sldMk cId="3575888733" sldId="298"/>
            <ac:spMk id="2" creationId="{8268C7F0-47D3-4E88-8FAF-126D776250AB}"/>
          </ac:spMkLst>
        </pc:spChg>
        <pc:spChg chg="del">
          <ac:chgData name="Maurizio Ragusa" userId="7116ddc8-25eb-4c36-8910-62a6a26d8117" providerId="ADAL" clId="{7EBCB12D-1FBE-45F5-85C0-0E10B5B53851}" dt="2020-12-11T14:19:45.532" v="2684" actId="478"/>
          <ac:spMkLst>
            <pc:docMk/>
            <pc:sldMk cId="3575888733" sldId="298"/>
            <ac:spMk id="3" creationId="{AA2B6E6A-92FB-4910-A680-66BB91E8AEAB}"/>
          </ac:spMkLst>
        </pc:spChg>
        <pc:spChg chg="add mod">
          <ac:chgData name="Maurizio Ragusa" userId="7116ddc8-25eb-4c36-8910-62a6a26d8117" providerId="ADAL" clId="{7EBCB12D-1FBE-45F5-85C0-0E10B5B53851}" dt="2020-12-14T11:13:35.511" v="7850" actId="20577"/>
          <ac:spMkLst>
            <pc:docMk/>
            <pc:sldMk cId="3575888733" sldId="298"/>
            <ac:spMk id="4" creationId="{E64CA449-A8AE-4F8C-94DD-32C9D0A90BE6}"/>
          </ac:spMkLst>
        </pc:spChg>
        <pc:spChg chg="del">
          <ac:chgData name="Maurizio Ragusa" userId="7116ddc8-25eb-4c36-8910-62a6a26d8117" providerId="ADAL" clId="{7EBCB12D-1FBE-45F5-85C0-0E10B5B53851}" dt="2020-12-11T14:19:42.808" v="2683" actId="478"/>
          <ac:spMkLst>
            <pc:docMk/>
            <pc:sldMk cId="3575888733" sldId="298"/>
            <ac:spMk id="6" creationId="{759A4943-2029-412B-BA6B-5E1F3F940AF6}"/>
          </ac:spMkLst>
        </pc:spChg>
        <pc:spChg chg="mod">
          <ac:chgData name="Maurizio Ragusa" userId="7116ddc8-25eb-4c36-8910-62a6a26d8117" providerId="ADAL" clId="{7EBCB12D-1FBE-45F5-85C0-0E10B5B53851}" dt="2020-12-12T12:53:56.579" v="4892" actId="20577"/>
          <ac:spMkLst>
            <pc:docMk/>
            <pc:sldMk cId="3575888733" sldId="298"/>
            <ac:spMk id="7" creationId="{C2B3AAD5-72E9-49EB-9AFB-C460F19B49CD}"/>
          </ac:spMkLst>
        </pc:spChg>
        <pc:spChg chg="del">
          <ac:chgData name="Maurizio Ragusa" userId="7116ddc8-25eb-4c36-8910-62a6a26d8117" providerId="ADAL" clId="{7EBCB12D-1FBE-45F5-85C0-0E10B5B53851}" dt="2020-12-11T14:19:36.730" v="2682" actId="478"/>
          <ac:spMkLst>
            <pc:docMk/>
            <pc:sldMk cId="3575888733" sldId="298"/>
            <ac:spMk id="9" creationId="{B40FA71D-A7E9-4640-BC29-9C233756E962}"/>
          </ac:spMkLst>
        </pc:spChg>
        <pc:spChg chg="del">
          <ac:chgData name="Maurizio Ragusa" userId="7116ddc8-25eb-4c36-8910-62a6a26d8117" providerId="ADAL" clId="{7EBCB12D-1FBE-45F5-85C0-0E10B5B53851}" dt="2020-12-11T14:19:42.808" v="2683" actId="478"/>
          <ac:spMkLst>
            <pc:docMk/>
            <pc:sldMk cId="3575888733" sldId="298"/>
            <ac:spMk id="10" creationId="{2546009A-428C-4FB1-B373-3F61A4C222AD}"/>
          </ac:spMkLst>
        </pc:spChg>
      </pc:sldChg>
      <pc:sldChg chg="addSp delSp modSp add mod">
        <pc:chgData name="Maurizio Ragusa" userId="7116ddc8-25eb-4c36-8910-62a6a26d8117" providerId="ADAL" clId="{7EBCB12D-1FBE-45F5-85C0-0E10B5B53851}" dt="2020-12-11T16:27:49.717" v="3208" actId="20577"/>
        <pc:sldMkLst>
          <pc:docMk/>
          <pc:sldMk cId="2110572151" sldId="299"/>
        </pc:sldMkLst>
        <pc:spChg chg="add mod">
          <ac:chgData name="Maurizio Ragusa" userId="7116ddc8-25eb-4c36-8910-62a6a26d8117" providerId="ADAL" clId="{7EBCB12D-1FBE-45F5-85C0-0E10B5B53851}" dt="2020-12-11T16:27:49.717" v="3208" actId="20577"/>
          <ac:spMkLst>
            <pc:docMk/>
            <pc:sldMk cId="2110572151" sldId="299"/>
            <ac:spMk id="3" creationId="{9FA229D1-2312-4138-A1E6-8D74A629964A}"/>
          </ac:spMkLst>
        </pc:spChg>
        <pc:spChg chg="mod">
          <ac:chgData name="Maurizio Ragusa" userId="7116ddc8-25eb-4c36-8910-62a6a26d8117" providerId="ADAL" clId="{7EBCB12D-1FBE-45F5-85C0-0E10B5B53851}" dt="2020-12-11T15:11:52.102" v="3063" actId="20577"/>
          <ac:spMkLst>
            <pc:docMk/>
            <pc:sldMk cId="2110572151" sldId="299"/>
            <ac:spMk id="4" creationId="{E64CA449-A8AE-4F8C-94DD-32C9D0A90BE6}"/>
          </ac:spMkLst>
        </pc:spChg>
        <pc:picChg chg="add del mod">
          <ac:chgData name="Maurizio Ragusa" userId="7116ddc8-25eb-4c36-8910-62a6a26d8117" providerId="ADAL" clId="{7EBCB12D-1FBE-45F5-85C0-0E10B5B53851}" dt="2020-12-11T16:27:10.669" v="3196" actId="478"/>
          <ac:picMkLst>
            <pc:docMk/>
            <pc:sldMk cId="2110572151" sldId="299"/>
            <ac:picMk id="7170" creationId="{C99941D3-483B-4A15-A419-CC243B08842C}"/>
          </ac:picMkLst>
        </pc:picChg>
        <pc:picChg chg="add del">
          <ac:chgData name="Maurizio Ragusa" userId="7116ddc8-25eb-4c36-8910-62a6a26d8117" providerId="ADAL" clId="{7EBCB12D-1FBE-45F5-85C0-0E10B5B53851}" dt="2020-12-11T16:27:10.111" v="3195"/>
          <ac:picMkLst>
            <pc:docMk/>
            <pc:sldMk cId="2110572151" sldId="299"/>
            <ac:picMk id="7172" creationId="{BC5B9FBA-C328-406E-ADEC-B52761F291A6}"/>
          </ac:picMkLst>
        </pc:picChg>
      </pc:sldChg>
      <pc:sldChg chg="addSp delSp modSp add mod">
        <pc:chgData name="Maurizio Ragusa" userId="7116ddc8-25eb-4c36-8910-62a6a26d8117" providerId="ADAL" clId="{7EBCB12D-1FBE-45F5-85C0-0E10B5B53851}" dt="2020-12-11T18:28:44.401" v="4400" actId="20577"/>
        <pc:sldMkLst>
          <pc:docMk/>
          <pc:sldMk cId="4030180263" sldId="300"/>
        </pc:sldMkLst>
        <pc:spChg chg="mod">
          <ac:chgData name="Maurizio Ragusa" userId="7116ddc8-25eb-4c36-8910-62a6a26d8117" providerId="ADAL" clId="{7EBCB12D-1FBE-45F5-85C0-0E10B5B53851}" dt="2020-12-11T15:31:42.032" v="3118" actId="20577"/>
          <ac:spMkLst>
            <pc:docMk/>
            <pc:sldMk cId="4030180263" sldId="300"/>
            <ac:spMk id="3" creationId="{9FA229D1-2312-4138-A1E6-8D74A629964A}"/>
          </ac:spMkLst>
        </pc:spChg>
        <pc:spChg chg="mod">
          <ac:chgData name="Maurizio Ragusa" userId="7116ddc8-25eb-4c36-8910-62a6a26d8117" providerId="ADAL" clId="{7EBCB12D-1FBE-45F5-85C0-0E10B5B53851}" dt="2020-12-11T18:28:44.401" v="4400" actId="20577"/>
          <ac:spMkLst>
            <pc:docMk/>
            <pc:sldMk cId="4030180263" sldId="300"/>
            <ac:spMk id="4" creationId="{E64CA449-A8AE-4F8C-94DD-32C9D0A90BE6}"/>
          </ac:spMkLst>
        </pc:spChg>
        <pc:spChg chg="add mod">
          <ac:chgData name="Maurizio Ragusa" userId="7116ddc8-25eb-4c36-8910-62a6a26d8117" providerId="ADAL" clId="{7EBCB12D-1FBE-45F5-85C0-0E10B5B53851}" dt="2020-12-11T15:38:09.348" v="3175" actId="13822"/>
          <ac:spMkLst>
            <pc:docMk/>
            <pc:sldMk cId="4030180263" sldId="300"/>
            <ac:spMk id="5" creationId="{866C7950-9D68-4F87-A755-C73F032280EF}"/>
          </ac:spMkLst>
        </pc:spChg>
        <pc:spChg chg="add del">
          <ac:chgData name="Maurizio Ragusa" userId="7116ddc8-25eb-4c36-8910-62a6a26d8117" providerId="ADAL" clId="{7EBCB12D-1FBE-45F5-85C0-0E10B5B53851}" dt="2020-12-11T15:38:00.125" v="3173" actId="11529"/>
          <ac:spMkLst>
            <pc:docMk/>
            <pc:sldMk cId="4030180263" sldId="300"/>
            <ac:spMk id="6" creationId="{6E8A5F37-8623-4850-8875-636C51B6A2D1}"/>
          </ac:spMkLst>
        </pc:spChg>
        <pc:spChg chg="mod">
          <ac:chgData name="Maurizio Ragusa" userId="7116ddc8-25eb-4c36-8910-62a6a26d8117" providerId="ADAL" clId="{7EBCB12D-1FBE-45F5-85C0-0E10B5B53851}" dt="2020-12-11T15:10:12.369" v="3045" actId="20577"/>
          <ac:spMkLst>
            <pc:docMk/>
            <pc:sldMk cId="4030180263" sldId="300"/>
            <ac:spMk id="7" creationId="{C2B3AAD5-72E9-49EB-9AFB-C460F19B49CD}"/>
          </ac:spMkLst>
        </pc:spChg>
        <pc:picChg chg="del mod">
          <ac:chgData name="Maurizio Ragusa" userId="7116ddc8-25eb-4c36-8910-62a6a26d8117" providerId="ADAL" clId="{7EBCB12D-1FBE-45F5-85C0-0E10B5B53851}" dt="2020-12-11T15:31:15.088" v="3116" actId="478"/>
          <ac:picMkLst>
            <pc:docMk/>
            <pc:sldMk cId="4030180263" sldId="300"/>
            <ac:picMk id="7170" creationId="{C99941D3-483B-4A15-A419-CC243B08842C}"/>
          </ac:picMkLst>
        </pc:picChg>
        <pc:picChg chg="add mod">
          <ac:chgData name="Maurizio Ragusa" userId="7116ddc8-25eb-4c36-8910-62a6a26d8117" providerId="ADAL" clId="{7EBCB12D-1FBE-45F5-85C0-0E10B5B53851}" dt="2020-12-11T15:31:18.410" v="3117" actId="1076"/>
          <ac:picMkLst>
            <pc:docMk/>
            <pc:sldMk cId="4030180263" sldId="300"/>
            <ac:picMk id="8194" creationId="{798F4732-D716-4822-A965-2274B20D0DAF}"/>
          </ac:picMkLst>
        </pc:picChg>
      </pc:sldChg>
      <pc:sldChg chg="addSp delSp modSp add mod">
        <pc:chgData name="Maurizio Ragusa" userId="7116ddc8-25eb-4c36-8910-62a6a26d8117" providerId="ADAL" clId="{7EBCB12D-1FBE-45F5-85C0-0E10B5B53851}" dt="2020-12-14T10:11:28.862" v="7595" actId="20577"/>
        <pc:sldMkLst>
          <pc:docMk/>
          <pc:sldMk cId="385938048" sldId="301"/>
        </pc:sldMkLst>
        <pc:spChg chg="mod">
          <ac:chgData name="Maurizio Ragusa" userId="7116ddc8-25eb-4c36-8910-62a6a26d8117" providerId="ADAL" clId="{7EBCB12D-1FBE-45F5-85C0-0E10B5B53851}" dt="2020-12-11T16:27:55.179" v="3210" actId="20577"/>
          <ac:spMkLst>
            <pc:docMk/>
            <pc:sldMk cId="385938048" sldId="301"/>
            <ac:spMk id="3" creationId="{9FA229D1-2312-4138-A1E6-8D74A629964A}"/>
          </ac:spMkLst>
        </pc:spChg>
        <pc:spChg chg="mod">
          <ac:chgData name="Maurizio Ragusa" userId="7116ddc8-25eb-4c36-8910-62a6a26d8117" providerId="ADAL" clId="{7EBCB12D-1FBE-45F5-85C0-0E10B5B53851}" dt="2020-12-11T16:36:40.977" v="3464" actId="20577"/>
          <ac:spMkLst>
            <pc:docMk/>
            <pc:sldMk cId="385938048" sldId="301"/>
            <ac:spMk id="4" creationId="{E64CA449-A8AE-4F8C-94DD-32C9D0A90BE6}"/>
          </ac:spMkLst>
        </pc:spChg>
        <pc:spChg chg="del mod">
          <ac:chgData name="Maurizio Ragusa" userId="7116ddc8-25eb-4c36-8910-62a6a26d8117" providerId="ADAL" clId="{7EBCB12D-1FBE-45F5-85C0-0E10B5B53851}" dt="2020-12-11T17:13:25.317" v="3527" actId="478"/>
          <ac:spMkLst>
            <pc:docMk/>
            <pc:sldMk cId="385938048" sldId="301"/>
            <ac:spMk id="5" creationId="{866C7950-9D68-4F87-A755-C73F032280EF}"/>
          </ac:spMkLst>
        </pc:spChg>
        <pc:spChg chg="mod">
          <ac:chgData name="Maurizio Ragusa" userId="7116ddc8-25eb-4c36-8910-62a6a26d8117" providerId="ADAL" clId="{7EBCB12D-1FBE-45F5-85C0-0E10B5B53851}" dt="2020-12-14T10:11:28.862" v="7595" actId="20577"/>
          <ac:spMkLst>
            <pc:docMk/>
            <pc:sldMk cId="385938048" sldId="301"/>
            <ac:spMk id="7" creationId="{C2B3AAD5-72E9-49EB-9AFB-C460F19B49CD}"/>
          </ac:spMkLst>
        </pc:spChg>
        <pc:picChg chg="del mod">
          <ac:chgData name="Maurizio Ragusa" userId="7116ddc8-25eb-4c36-8910-62a6a26d8117" providerId="ADAL" clId="{7EBCB12D-1FBE-45F5-85C0-0E10B5B53851}" dt="2020-12-11T16:27:27.784" v="3201" actId="478"/>
          <ac:picMkLst>
            <pc:docMk/>
            <pc:sldMk cId="385938048" sldId="301"/>
            <ac:picMk id="8194" creationId="{798F4732-D716-4822-A965-2274B20D0DAF}"/>
          </ac:picMkLst>
        </pc:picChg>
        <pc:picChg chg="add mod">
          <ac:chgData name="Maurizio Ragusa" userId="7116ddc8-25eb-4c36-8910-62a6a26d8117" providerId="ADAL" clId="{7EBCB12D-1FBE-45F5-85C0-0E10B5B53851}" dt="2020-12-11T16:27:31.380" v="3202" actId="1076"/>
          <ac:picMkLst>
            <pc:docMk/>
            <pc:sldMk cId="385938048" sldId="301"/>
            <ac:picMk id="9218" creationId="{4BB5188C-6C55-4618-B643-8195AB864F6F}"/>
          </ac:picMkLst>
        </pc:picChg>
      </pc:sldChg>
      <pc:sldChg chg="addSp delSp modSp add mod">
        <pc:chgData name="Maurizio Ragusa" userId="7116ddc8-25eb-4c36-8910-62a6a26d8117" providerId="ADAL" clId="{7EBCB12D-1FBE-45F5-85C0-0E10B5B53851}" dt="2020-12-12T10:57:25.078" v="4450" actId="20577"/>
        <pc:sldMkLst>
          <pc:docMk/>
          <pc:sldMk cId="1000187697" sldId="302"/>
        </pc:sldMkLst>
        <pc:spChg chg="del">
          <ac:chgData name="Maurizio Ragusa" userId="7116ddc8-25eb-4c36-8910-62a6a26d8117" providerId="ADAL" clId="{7EBCB12D-1FBE-45F5-85C0-0E10B5B53851}" dt="2020-12-11T17:25:57.238" v="3874" actId="478"/>
          <ac:spMkLst>
            <pc:docMk/>
            <pc:sldMk cId="1000187697" sldId="302"/>
            <ac:spMk id="3" creationId="{9FA229D1-2312-4138-A1E6-8D74A629964A}"/>
          </ac:spMkLst>
        </pc:spChg>
        <pc:spChg chg="mod">
          <ac:chgData name="Maurizio Ragusa" userId="7116ddc8-25eb-4c36-8910-62a6a26d8117" providerId="ADAL" clId="{7EBCB12D-1FBE-45F5-85C0-0E10B5B53851}" dt="2020-12-11T17:55:56.192" v="4397" actId="20577"/>
          <ac:spMkLst>
            <pc:docMk/>
            <pc:sldMk cId="1000187697" sldId="302"/>
            <ac:spMk id="4" creationId="{E64CA449-A8AE-4F8C-94DD-32C9D0A90BE6}"/>
          </ac:spMkLst>
        </pc:spChg>
        <pc:spChg chg="mod">
          <ac:chgData name="Maurizio Ragusa" userId="7116ddc8-25eb-4c36-8910-62a6a26d8117" providerId="ADAL" clId="{7EBCB12D-1FBE-45F5-85C0-0E10B5B53851}" dt="2020-12-12T10:57:25.078" v="4450" actId="20577"/>
          <ac:spMkLst>
            <pc:docMk/>
            <pc:sldMk cId="1000187697" sldId="302"/>
            <ac:spMk id="7" creationId="{C2B3AAD5-72E9-49EB-9AFB-C460F19B49CD}"/>
          </ac:spMkLst>
        </pc:spChg>
        <pc:spChg chg="add mod">
          <ac:chgData name="Maurizio Ragusa" userId="7116ddc8-25eb-4c36-8910-62a6a26d8117" providerId="ADAL" clId="{7EBCB12D-1FBE-45F5-85C0-0E10B5B53851}" dt="2020-12-11T17:56:07.313" v="4399" actId="1076"/>
          <ac:spMkLst>
            <pc:docMk/>
            <pc:sldMk cId="1000187697" sldId="302"/>
            <ac:spMk id="8" creationId="{BDF75B45-40B8-4BB0-9481-314137978B91}"/>
          </ac:spMkLst>
        </pc:spChg>
        <pc:spChg chg="add del">
          <ac:chgData name="Maurizio Ragusa" userId="7116ddc8-25eb-4c36-8910-62a6a26d8117" providerId="ADAL" clId="{7EBCB12D-1FBE-45F5-85C0-0E10B5B53851}" dt="2020-12-11T17:29:24.446" v="3902"/>
          <ac:spMkLst>
            <pc:docMk/>
            <pc:sldMk cId="1000187697" sldId="302"/>
            <ac:spMk id="9" creationId="{71ECDDA5-3D76-458E-8E39-1283965BC331}"/>
          </ac:spMkLst>
        </pc:spChg>
        <pc:spChg chg="add mod">
          <ac:chgData name="Maurizio Ragusa" userId="7116ddc8-25eb-4c36-8910-62a6a26d8117" providerId="ADAL" clId="{7EBCB12D-1FBE-45F5-85C0-0E10B5B53851}" dt="2020-12-11T17:56:04.063" v="4398" actId="1076"/>
          <ac:spMkLst>
            <pc:docMk/>
            <pc:sldMk cId="1000187697" sldId="302"/>
            <ac:spMk id="10" creationId="{2330D052-3A1C-4DF3-B226-40B3531D1DE5}"/>
          </ac:spMkLst>
        </pc:spChg>
        <pc:spChg chg="add del mod">
          <ac:chgData name="Maurizio Ragusa" userId="7116ddc8-25eb-4c36-8910-62a6a26d8117" providerId="ADAL" clId="{7EBCB12D-1FBE-45F5-85C0-0E10B5B53851}" dt="2020-12-11T17:55:30.331" v="4321" actId="478"/>
          <ac:spMkLst>
            <pc:docMk/>
            <pc:sldMk cId="1000187697" sldId="302"/>
            <ac:spMk id="11" creationId="{E8BE4F0C-3158-4B9B-A17D-262813C7E63A}"/>
          </ac:spMkLst>
        </pc:spChg>
        <pc:spChg chg="add del mod">
          <ac:chgData name="Maurizio Ragusa" userId="7116ddc8-25eb-4c36-8910-62a6a26d8117" providerId="ADAL" clId="{7EBCB12D-1FBE-45F5-85C0-0E10B5B53851}" dt="2020-12-11T17:55:28.772" v="4320" actId="478"/>
          <ac:spMkLst>
            <pc:docMk/>
            <pc:sldMk cId="1000187697" sldId="302"/>
            <ac:spMk id="12" creationId="{2EBCAB29-015C-45B2-8013-43E011DFFAF5}"/>
          </ac:spMkLst>
        </pc:spChg>
        <pc:picChg chg="del">
          <ac:chgData name="Maurizio Ragusa" userId="7116ddc8-25eb-4c36-8910-62a6a26d8117" providerId="ADAL" clId="{7EBCB12D-1FBE-45F5-85C0-0E10B5B53851}" dt="2020-12-11T17:13:56.999" v="3529" actId="478"/>
          <ac:picMkLst>
            <pc:docMk/>
            <pc:sldMk cId="1000187697" sldId="302"/>
            <ac:picMk id="9218" creationId="{4BB5188C-6C55-4618-B643-8195AB864F6F}"/>
          </ac:picMkLst>
        </pc:picChg>
      </pc:sldChg>
      <pc:sldChg chg="addSp delSp modSp add mod">
        <pc:chgData name="Maurizio Ragusa" userId="7116ddc8-25eb-4c36-8910-62a6a26d8117" providerId="ADAL" clId="{7EBCB12D-1FBE-45F5-85C0-0E10B5B53851}" dt="2020-12-13T20:45:32.395" v="7193" actId="20577"/>
        <pc:sldMkLst>
          <pc:docMk/>
          <pc:sldMk cId="555293809" sldId="303"/>
        </pc:sldMkLst>
        <pc:spChg chg="mod">
          <ac:chgData name="Maurizio Ragusa" userId="7116ddc8-25eb-4c36-8910-62a6a26d8117" providerId="ADAL" clId="{7EBCB12D-1FBE-45F5-85C0-0E10B5B53851}" dt="2020-12-13T19:16:55.621" v="6485" actId="20577"/>
          <ac:spMkLst>
            <pc:docMk/>
            <pc:sldMk cId="555293809" sldId="303"/>
            <ac:spMk id="2" creationId="{8268C7F0-47D3-4E88-8FAF-126D776250AB}"/>
          </ac:spMkLst>
        </pc:spChg>
        <pc:spChg chg="add mod">
          <ac:chgData name="Maurizio Ragusa" userId="7116ddc8-25eb-4c36-8910-62a6a26d8117" providerId="ADAL" clId="{7EBCB12D-1FBE-45F5-85C0-0E10B5B53851}" dt="2020-12-12T12:28:44.724" v="4844" actId="1076"/>
          <ac:spMkLst>
            <pc:docMk/>
            <pc:sldMk cId="555293809" sldId="303"/>
            <ac:spMk id="3" creationId="{B350C10D-515B-4F72-925B-261E6D5CF06D}"/>
          </ac:spMkLst>
        </pc:spChg>
        <pc:spChg chg="del">
          <ac:chgData name="Maurizio Ragusa" userId="7116ddc8-25eb-4c36-8910-62a6a26d8117" providerId="ADAL" clId="{7EBCB12D-1FBE-45F5-85C0-0E10B5B53851}" dt="2020-12-12T11:00:42.211" v="4467" actId="478"/>
          <ac:spMkLst>
            <pc:docMk/>
            <pc:sldMk cId="555293809" sldId="303"/>
            <ac:spMk id="4" creationId="{E64CA449-A8AE-4F8C-94DD-32C9D0A90BE6}"/>
          </ac:spMkLst>
        </pc:spChg>
        <pc:spChg chg="del mod">
          <ac:chgData name="Maurizio Ragusa" userId="7116ddc8-25eb-4c36-8910-62a6a26d8117" providerId="ADAL" clId="{7EBCB12D-1FBE-45F5-85C0-0E10B5B53851}" dt="2020-12-12T11:00:37.667" v="4466" actId="478"/>
          <ac:spMkLst>
            <pc:docMk/>
            <pc:sldMk cId="555293809" sldId="303"/>
            <ac:spMk id="7" creationId="{C2B3AAD5-72E9-49EB-9AFB-C460F19B49CD}"/>
          </ac:spMkLst>
        </pc:spChg>
        <pc:spChg chg="del">
          <ac:chgData name="Maurizio Ragusa" userId="7116ddc8-25eb-4c36-8910-62a6a26d8117" providerId="ADAL" clId="{7EBCB12D-1FBE-45F5-85C0-0E10B5B53851}" dt="2020-12-12T11:00:44.525" v="4468" actId="478"/>
          <ac:spMkLst>
            <pc:docMk/>
            <pc:sldMk cId="555293809" sldId="303"/>
            <ac:spMk id="8" creationId="{BDF75B45-40B8-4BB0-9481-314137978B91}"/>
          </ac:spMkLst>
        </pc:spChg>
        <pc:spChg chg="add mod">
          <ac:chgData name="Maurizio Ragusa" userId="7116ddc8-25eb-4c36-8910-62a6a26d8117" providerId="ADAL" clId="{7EBCB12D-1FBE-45F5-85C0-0E10B5B53851}" dt="2020-12-13T20:45:32.395" v="7193" actId="20577"/>
          <ac:spMkLst>
            <pc:docMk/>
            <pc:sldMk cId="555293809" sldId="303"/>
            <ac:spMk id="9" creationId="{E74CA752-92B1-48D2-B47A-9AB3A2B4564B}"/>
          </ac:spMkLst>
        </pc:spChg>
        <pc:spChg chg="mod">
          <ac:chgData name="Maurizio Ragusa" userId="7116ddc8-25eb-4c36-8910-62a6a26d8117" providerId="ADAL" clId="{7EBCB12D-1FBE-45F5-85C0-0E10B5B53851}" dt="2020-12-13T20:45:24.285" v="7192" actId="20577"/>
          <ac:spMkLst>
            <pc:docMk/>
            <pc:sldMk cId="555293809" sldId="303"/>
            <ac:spMk id="10" creationId="{2330D052-3A1C-4DF3-B226-40B3531D1DE5}"/>
          </ac:spMkLst>
        </pc:spChg>
      </pc:sldChg>
      <pc:sldChg chg="addSp delSp modSp add mod">
        <pc:chgData name="Maurizio Ragusa" userId="7116ddc8-25eb-4c36-8910-62a6a26d8117" providerId="ADAL" clId="{7EBCB12D-1FBE-45F5-85C0-0E10B5B53851}" dt="2020-12-13T20:56:06.554" v="7197" actId="20577"/>
        <pc:sldMkLst>
          <pc:docMk/>
          <pc:sldMk cId="2192023892" sldId="304"/>
        </pc:sldMkLst>
        <pc:spChg chg="mod">
          <ac:chgData name="Maurizio Ragusa" userId="7116ddc8-25eb-4c36-8910-62a6a26d8117" providerId="ADAL" clId="{7EBCB12D-1FBE-45F5-85C0-0E10B5B53851}" dt="2020-12-13T19:16:52.938" v="6484" actId="20577"/>
          <ac:spMkLst>
            <pc:docMk/>
            <pc:sldMk cId="2192023892" sldId="304"/>
            <ac:spMk id="2" creationId="{8268C7F0-47D3-4E88-8FAF-126D776250AB}"/>
          </ac:spMkLst>
        </pc:spChg>
        <pc:spChg chg="del">
          <ac:chgData name="Maurizio Ragusa" userId="7116ddc8-25eb-4c36-8910-62a6a26d8117" providerId="ADAL" clId="{7EBCB12D-1FBE-45F5-85C0-0E10B5B53851}" dt="2020-12-12T15:12:45.591" v="5279" actId="478"/>
          <ac:spMkLst>
            <pc:docMk/>
            <pc:sldMk cId="2192023892" sldId="304"/>
            <ac:spMk id="3" creationId="{B350C10D-515B-4F72-925B-261E6D5CF06D}"/>
          </ac:spMkLst>
        </pc:spChg>
        <pc:spChg chg="add mod">
          <ac:chgData name="Maurizio Ragusa" userId="7116ddc8-25eb-4c36-8910-62a6a26d8117" providerId="ADAL" clId="{7EBCB12D-1FBE-45F5-85C0-0E10B5B53851}" dt="2020-12-13T15:57:00.935" v="5335" actId="20577"/>
          <ac:spMkLst>
            <pc:docMk/>
            <pc:sldMk cId="2192023892" sldId="304"/>
            <ac:spMk id="6" creationId="{185B9F95-1025-4FA1-A013-F04533AB158B}"/>
          </ac:spMkLst>
        </pc:spChg>
        <pc:spChg chg="add mod">
          <ac:chgData name="Maurizio Ragusa" userId="7116ddc8-25eb-4c36-8910-62a6a26d8117" providerId="ADAL" clId="{7EBCB12D-1FBE-45F5-85C0-0E10B5B53851}" dt="2020-12-13T20:56:06.554" v="7197" actId="20577"/>
          <ac:spMkLst>
            <pc:docMk/>
            <pc:sldMk cId="2192023892" sldId="304"/>
            <ac:spMk id="7" creationId="{B5F434A0-5DB0-4B12-85EA-D64E8EFB993A}"/>
          </ac:spMkLst>
        </pc:spChg>
        <pc:spChg chg="del mod">
          <ac:chgData name="Maurizio Ragusa" userId="7116ddc8-25eb-4c36-8910-62a6a26d8117" providerId="ADAL" clId="{7EBCB12D-1FBE-45F5-85C0-0E10B5B53851}" dt="2020-12-12T15:12:47.864" v="5281" actId="478"/>
          <ac:spMkLst>
            <pc:docMk/>
            <pc:sldMk cId="2192023892" sldId="304"/>
            <ac:spMk id="9" creationId="{E74CA752-92B1-48D2-B47A-9AB3A2B4564B}"/>
          </ac:spMkLst>
        </pc:spChg>
        <pc:spChg chg="mod">
          <ac:chgData name="Maurizio Ragusa" userId="7116ddc8-25eb-4c36-8910-62a6a26d8117" providerId="ADAL" clId="{7EBCB12D-1FBE-45F5-85C0-0E10B5B53851}" dt="2020-12-13T17:13:40.686" v="5534" actId="20577"/>
          <ac:spMkLst>
            <pc:docMk/>
            <pc:sldMk cId="2192023892" sldId="304"/>
            <ac:spMk id="10" creationId="{2330D052-3A1C-4DF3-B226-40B3531D1DE5}"/>
          </ac:spMkLst>
        </pc:spChg>
        <pc:picChg chg="add mod">
          <ac:chgData name="Maurizio Ragusa" userId="7116ddc8-25eb-4c36-8910-62a6a26d8117" providerId="ADAL" clId="{7EBCB12D-1FBE-45F5-85C0-0E10B5B53851}" dt="2020-12-13T17:23:33.843" v="5542" actId="1076"/>
          <ac:picMkLst>
            <pc:docMk/>
            <pc:sldMk cId="2192023892" sldId="304"/>
            <ac:picMk id="4" creationId="{0B509D09-EBA6-4219-AEAE-E692E6EAD6BD}"/>
          </ac:picMkLst>
        </pc:picChg>
      </pc:sldChg>
      <pc:sldChg chg="addSp delSp modSp add mod ord">
        <pc:chgData name="Maurizio Ragusa" userId="7116ddc8-25eb-4c36-8910-62a6a26d8117" providerId="ADAL" clId="{7EBCB12D-1FBE-45F5-85C0-0E10B5B53851}" dt="2020-12-14T10:23:44.410" v="7624" actId="5793"/>
        <pc:sldMkLst>
          <pc:docMk/>
          <pc:sldMk cId="4279747751" sldId="305"/>
        </pc:sldMkLst>
        <pc:spChg chg="mod">
          <ac:chgData name="Maurizio Ragusa" userId="7116ddc8-25eb-4c36-8910-62a6a26d8117" providerId="ADAL" clId="{7EBCB12D-1FBE-45F5-85C0-0E10B5B53851}" dt="2020-12-12T12:58:47.023" v="4931" actId="20577"/>
          <ac:spMkLst>
            <pc:docMk/>
            <pc:sldMk cId="4279747751" sldId="305"/>
            <ac:spMk id="3" creationId="{9FA229D1-2312-4138-A1E6-8D74A629964A}"/>
          </ac:spMkLst>
        </pc:spChg>
        <pc:spChg chg="add del mod">
          <ac:chgData name="Maurizio Ragusa" userId="7116ddc8-25eb-4c36-8910-62a6a26d8117" providerId="ADAL" clId="{7EBCB12D-1FBE-45F5-85C0-0E10B5B53851}" dt="2020-12-12T13:01:38.887" v="4934" actId="478"/>
          <ac:spMkLst>
            <pc:docMk/>
            <pc:sldMk cId="4279747751" sldId="305"/>
            <ac:spMk id="4" creationId="{E64CA449-A8AE-4F8C-94DD-32C9D0A90BE6}"/>
          </ac:spMkLst>
        </pc:spChg>
        <pc:spChg chg="add del">
          <ac:chgData name="Maurizio Ragusa" userId="7116ddc8-25eb-4c36-8910-62a6a26d8117" providerId="ADAL" clId="{7EBCB12D-1FBE-45F5-85C0-0E10B5B53851}" dt="2020-12-12T13:03:02.071" v="4966"/>
          <ac:spMkLst>
            <pc:docMk/>
            <pc:sldMk cId="4279747751" sldId="305"/>
            <ac:spMk id="5" creationId="{0321734C-4EF2-4504-8CA4-C7FBE754B46D}"/>
          </ac:spMkLst>
        </pc:spChg>
        <pc:spChg chg="add del">
          <ac:chgData name="Maurizio Ragusa" userId="7116ddc8-25eb-4c36-8910-62a6a26d8117" providerId="ADAL" clId="{7EBCB12D-1FBE-45F5-85C0-0E10B5B53851}" dt="2020-12-12T13:03:02.071" v="4966"/>
          <ac:spMkLst>
            <pc:docMk/>
            <pc:sldMk cId="4279747751" sldId="305"/>
            <ac:spMk id="6" creationId="{33EFD174-BE91-40BE-A925-7DCF97370962}"/>
          </ac:spMkLst>
        </pc:spChg>
        <pc:spChg chg="mod">
          <ac:chgData name="Maurizio Ragusa" userId="7116ddc8-25eb-4c36-8910-62a6a26d8117" providerId="ADAL" clId="{7EBCB12D-1FBE-45F5-85C0-0E10B5B53851}" dt="2020-12-12T12:54:28.331" v="4917" actId="20577"/>
          <ac:spMkLst>
            <pc:docMk/>
            <pc:sldMk cId="4279747751" sldId="305"/>
            <ac:spMk id="7" creationId="{C2B3AAD5-72E9-49EB-9AFB-C460F19B49CD}"/>
          </ac:spMkLst>
        </pc:spChg>
        <pc:spChg chg="add mod">
          <ac:chgData name="Maurizio Ragusa" userId="7116ddc8-25eb-4c36-8910-62a6a26d8117" providerId="ADAL" clId="{7EBCB12D-1FBE-45F5-85C0-0E10B5B53851}" dt="2020-12-14T10:23:44.410" v="7624" actId="5793"/>
          <ac:spMkLst>
            <pc:docMk/>
            <pc:sldMk cId="4279747751" sldId="305"/>
            <ac:spMk id="10" creationId="{B3F90857-0E69-4A1D-9928-2509AEC365C6}"/>
          </ac:spMkLst>
        </pc:spChg>
        <pc:picChg chg="add del">
          <ac:chgData name="Maurizio Ragusa" userId="7116ddc8-25eb-4c36-8910-62a6a26d8117" providerId="ADAL" clId="{7EBCB12D-1FBE-45F5-85C0-0E10B5B53851}" dt="2020-12-12T12:57:10.100" v="4928" actId="478"/>
          <ac:picMkLst>
            <pc:docMk/>
            <pc:sldMk cId="4279747751" sldId="305"/>
            <ac:picMk id="9218" creationId="{4BB5188C-6C55-4618-B643-8195AB864F6F}"/>
          </ac:picMkLst>
        </pc:picChg>
        <pc:picChg chg="add del mod">
          <ac:chgData name="Maurizio Ragusa" userId="7116ddc8-25eb-4c36-8910-62a6a26d8117" providerId="ADAL" clId="{7EBCB12D-1FBE-45F5-85C0-0E10B5B53851}" dt="2020-12-12T12:56:58.960" v="4924"/>
          <ac:picMkLst>
            <pc:docMk/>
            <pc:sldMk cId="4279747751" sldId="305"/>
            <ac:picMk id="10242" creationId="{CF2610EE-701C-488E-82C5-527FC47E7229}"/>
          </ac:picMkLst>
        </pc:picChg>
        <pc:picChg chg="add mod">
          <ac:chgData name="Maurizio Ragusa" userId="7116ddc8-25eb-4c36-8910-62a6a26d8117" providerId="ADAL" clId="{7EBCB12D-1FBE-45F5-85C0-0E10B5B53851}" dt="2020-12-12T12:57:15.281" v="4929" actId="1076"/>
          <ac:picMkLst>
            <pc:docMk/>
            <pc:sldMk cId="4279747751" sldId="305"/>
            <ac:picMk id="10244" creationId="{51C39488-151A-481A-BE59-093445B00A1E}"/>
          </ac:picMkLst>
        </pc:picChg>
        <pc:picChg chg="add del">
          <ac:chgData name="Maurizio Ragusa" userId="7116ddc8-25eb-4c36-8910-62a6a26d8117" providerId="ADAL" clId="{7EBCB12D-1FBE-45F5-85C0-0E10B5B53851}" dt="2020-12-12T13:01:48.162" v="4936"/>
          <ac:picMkLst>
            <pc:docMk/>
            <pc:sldMk cId="4279747751" sldId="305"/>
            <ac:picMk id="10246" creationId="{F1B7F095-51F3-4CB7-ACFD-C44757276CEC}"/>
          </ac:picMkLst>
        </pc:picChg>
      </pc:sldChg>
      <pc:sldChg chg="addSp delSp modSp add mod">
        <pc:chgData name="Maurizio Ragusa" userId="7116ddc8-25eb-4c36-8910-62a6a26d8117" providerId="ADAL" clId="{7EBCB12D-1FBE-45F5-85C0-0E10B5B53851}" dt="2020-12-13T19:16:50.360" v="6483" actId="20577"/>
        <pc:sldMkLst>
          <pc:docMk/>
          <pc:sldMk cId="2304028644" sldId="306"/>
        </pc:sldMkLst>
        <pc:spChg chg="mod">
          <ac:chgData name="Maurizio Ragusa" userId="7116ddc8-25eb-4c36-8910-62a6a26d8117" providerId="ADAL" clId="{7EBCB12D-1FBE-45F5-85C0-0E10B5B53851}" dt="2020-12-13T19:16:50.360" v="6483" actId="20577"/>
          <ac:spMkLst>
            <pc:docMk/>
            <pc:sldMk cId="2304028644" sldId="306"/>
            <ac:spMk id="2" creationId="{8268C7F0-47D3-4E88-8FAF-126D776250AB}"/>
          </ac:spMkLst>
        </pc:spChg>
        <pc:spChg chg="del">
          <ac:chgData name="Maurizio Ragusa" userId="7116ddc8-25eb-4c36-8910-62a6a26d8117" providerId="ADAL" clId="{7EBCB12D-1FBE-45F5-85C0-0E10B5B53851}" dt="2020-12-13T18:15:48.726" v="5901" actId="478"/>
          <ac:spMkLst>
            <pc:docMk/>
            <pc:sldMk cId="2304028644" sldId="306"/>
            <ac:spMk id="7" creationId="{B5F434A0-5DB0-4B12-85EA-D64E8EFB993A}"/>
          </ac:spMkLst>
        </pc:spChg>
        <pc:spChg chg="add mod">
          <ac:chgData name="Maurizio Ragusa" userId="7116ddc8-25eb-4c36-8910-62a6a26d8117" providerId="ADAL" clId="{7EBCB12D-1FBE-45F5-85C0-0E10B5B53851}" dt="2020-12-13T19:15:23.959" v="6463" actId="14100"/>
          <ac:spMkLst>
            <pc:docMk/>
            <pc:sldMk cId="2304028644" sldId="306"/>
            <ac:spMk id="8" creationId="{64D678E9-C310-4DF9-952E-C994261D074B}"/>
          </ac:spMkLst>
        </pc:spChg>
        <pc:spChg chg="mod">
          <ac:chgData name="Maurizio Ragusa" userId="7116ddc8-25eb-4c36-8910-62a6a26d8117" providerId="ADAL" clId="{7EBCB12D-1FBE-45F5-85C0-0E10B5B53851}" dt="2020-12-13T19:13:21.893" v="6438" actId="14100"/>
          <ac:spMkLst>
            <pc:docMk/>
            <pc:sldMk cId="2304028644" sldId="306"/>
            <ac:spMk id="10" creationId="{2330D052-3A1C-4DF3-B226-40B3531D1DE5}"/>
          </ac:spMkLst>
        </pc:spChg>
        <pc:picChg chg="del mod">
          <ac:chgData name="Maurizio Ragusa" userId="7116ddc8-25eb-4c36-8910-62a6a26d8117" providerId="ADAL" clId="{7EBCB12D-1FBE-45F5-85C0-0E10B5B53851}" dt="2020-12-13T19:04:58.220" v="6437" actId="478"/>
          <ac:picMkLst>
            <pc:docMk/>
            <pc:sldMk cId="2304028644" sldId="306"/>
            <ac:picMk id="4" creationId="{0B509D09-EBA6-4219-AEAE-E692E6EAD6BD}"/>
          </ac:picMkLst>
        </pc:picChg>
        <pc:picChg chg="add mod">
          <ac:chgData name="Maurizio Ragusa" userId="7116ddc8-25eb-4c36-8910-62a6a26d8117" providerId="ADAL" clId="{7EBCB12D-1FBE-45F5-85C0-0E10B5B53851}" dt="2020-12-13T19:14:07.421" v="6442" actId="1076"/>
          <ac:picMkLst>
            <pc:docMk/>
            <pc:sldMk cId="2304028644" sldId="306"/>
            <ac:picMk id="4098" creationId="{0D59303A-F54E-4D95-B649-EE1D7607A3E1}"/>
          </ac:picMkLst>
        </pc:picChg>
      </pc:sldChg>
      <pc:sldChg chg="addSp delSp modSp add del mod">
        <pc:chgData name="Maurizio Ragusa" userId="7116ddc8-25eb-4c36-8910-62a6a26d8117" providerId="ADAL" clId="{7EBCB12D-1FBE-45F5-85C0-0E10B5B53851}" dt="2020-12-13T20:37:32.384" v="6879" actId="2696"/>
        <pc:sldMkLst>
          <pc:docMk/>
          <pc:sldMk cId="4003112752" sldId="307"/>
        </pc:sldMkLst>
        <pc:spChg chg="mod">
          <ac:chgData name="Maurizio Ragusa" userId="7116ddc8-25eb-4c36-8910-62a6a26d8117" providerId="ADAL" clId="{7EBCB12D-1FBE-45F5-85C0-0E10B5B53851}" dt="2020-12-13T19:16:47.482" v="6482" actId="20577"/>
          <ac:spMkLst>
            <pc:docMk/>
            <pc:sldMk cId="4003112752" sldId="307"/>
            <ac:spMk id="2" creationId="{8268C7F0-47D3-4E88-8FAF-126D776250AB}"/>
          </ac:spMkLst>
        </pc:spChg>
        <pc:spChg chg="add mod">
          <ac:chgData name="Maurizio Ragusa" userId="7116ddc8-25eb-4c36-8910-62a6a26d8117" providerId="ADAL" clId="{7EBCB12D-1FBE-45F5-85C0-0E10B5B53851}" dt="2020-12-13T20:35:22.327" v="6874" actId="20577"/>
          <ac:spMkLst>
            <pc:docMk/>
            <pc:sldMk cId="4003112752" sldId="307"/>
            <ac:spMk id="3" creationId="{59E0EFC8-E636-4746-B361-D06A90671132}"/>
          </ac:spMkLst>
        </pc:spChg>
        <pc:spChg chg="mod">
          <ac:chgData name="Maurizio Ragusa" userId="7116ddc8-25eb-4c36-8910-62a6a26d8117" providerId="ADAL" clId="{7EBCB12D-1FBE-45F5-85C0-0E10B5B53851}" dt="2020-12-13T20:32:21.347" v="6861" actId="1076"/>
          <ac:spMkLst>
            <pc:docMk/>
            <pc:sldMk cId="4003112752" sldId="307"/>
            <ac:spMk id="6" creationId="{185B9F95-1025-4FA1-A013-F04533AB158B}"/>
          </ac:spMkLst>
        </pc:spChg>
        <pc:spChg chg="add del mod">
          <ac:chgData name="Maurizio Ragusa" userId="7116ddc8-25eb-4c36-8910-62a6a26d8117" providerId="ADAL" clId="{7EBCB12D-1FBE-45F5-85C0-0E10B5B53851}" dt="2020-12-13T19:32:22.712" v="6492"/>
          <ac:spMkLst>
            <pc:docMk/>
            <pc:sldMk cId="4003112752" sldId="307"/>
            <ac:spMk id="7" creationId="{C2E68A36-DABC-4F0D-8672-15E1D90F45C5}"/>
          </ac:spMkLst>
        </pc:spChg>
        <pc:spChg chg="del">
          <ac:chgData name="Maurizio Ragusa" userId="7116ddc8-25eb-4c36-8910-62a6a26d8117" providerId="ADAL" clId="{7EBCB12D-1FBE-45F5-85C0-0E10B5B53851}" dt="2020-12-13T19:16:24.669" v="6466" actId="478"/>
          <ac:spMkLst>
            <pc:docMk/>
            <pc:sldMk cId="4003112752" sldId="307"/>
            <ac:spMk id="8" creationId="{64D678E9-C310-4DF9-952E-C994261D074B}"/>
          </ac:spMkLst>
        </pc:spChg>
        <pc:spChg chg="del">
          <ac:chgData name="Maurizio Ragusa" userId="7116ddc8-25eb-4c36-8910-62a6a26d8117" providerId="ADAL" clId="{7EBCB12D-1FBE-45F5-85C0-0E10B5B53851}" dt="2020-12-13T19:16:27.412" v="6467" actId="478"/>
          <ac:spMkLst>
            <pc:docMk/>
            <pc:sldMk cId="4003112752" sldId="307"/>
            <ac:spMk id="10" creationId="{2330D052-3A1C-4DF3-B226-40B3531D1DE5}"/>
          </ac:spMkLst>
        </pc:spChg>
        <pc:picChg chg="add mod">
          <ac:chgData name="Maurizio Ragusa" userId="7116ddc8-25eb-4c36-8910-62a6a26d8117" providerId="ADAL" clId="{7EBCB12D-1FBE-45F5-85C0-0E10B5B53851}" dt="2020-12-13T20:33:01.075" v="6867" actId="1076"/>
          <ac:picMkLst>
            <pc:docMk/>
            <pc:sldMk cId="4003112752" sldId="307"/>
            <ac:picMk id="4" creationId="{AE8EDEC6-78F1-4D77-BF7E-FABED49BC8BE}"/>
          </ac:picMkLst>
        </pc:picChg>
        <pc:picChg chg="del">
          <ac:chgData name="Maurizio Ragusa" userId="7116ddc8-25eb-4c36-8910-62a6a26d8117" providerId="ADAL" clId="{7EBCB12D-1FBE-45F5-85C0-0E10B5B53851}" dt="2020-12-13T19:16:22.628" v="6465" actId="478"/>
          <ac:picMkLst>
            <pc:docMk/>
            <pc:sldMk cId="4003112752" sldId="307"/>
            <ac:picMk id="4098" creationId="{0D59303A-F54E-4D95-B649-EE1D7607A3E1}"/>
          </ac:picMkLst>
        </pc:picChg>
      </pc:sldChg>
      <pc:sldChg chg="modSp add mod">
        <pc:chgData name="Maurizio Ragusa" userId="7116ddc8-25eb-4c36-8910-62a6a26d8117" providerId="ADAL" clId="{7EBCB12D-1FBE-45F5-85C0-0E10B5B53851}" dt="2020-12-13T20:38:01.694" v="6881" actId="14100"/>
        <pc:sldMkLst>
          <pc:docMk/>
          <pc:sldMk cId="3263737836" sldId="308"/>
        </pc:sldMkLst>
        <pc:spChg chg="mod">
          <ac:chgData name="Maurizio Ragusa" userId="7116ddc8-25eb-4c36-8910-62a6a26d8117" providerId="ADAL" clId="{7EBCB12D-1FBE-45F5-85C0-0E10B5B53851}" dt="2020-12-13T20:38:01.694" v="6881" actId="14100"/>
          <ac:spMkLst>
            <pc:docMk/>
            <pc:sldMk cId="3263737836" sldId="308"/>
            <ac:spMk id="3" creationId="{59E0EFC8-E636-4746-B361-D06A90671132}"/>
          </ac:spMkLst>
        </pc:spChg>
        <pc:picChg chg="mod">
          <ac:chgData name="Maurizio Ragusa" userId="7116ddc8-25eb-4c36-8910-62a6a26d8117" providerId="ADAL" clId="{7EBCB12D-1FBE-45F5-85C0-0E10B5B53851}" dt="2020-12-13T20:37:28.437" v="6878" actId="14100"/>
          <ac:picMkLst>
            <pc:docMk/>
            <pc:sldMk cId="3263737836" sldId="308"/>
            <ac:picMk id="4" creationId="{AE8EDEC6-78F1-4D77-BF7E-FABED49BC8BE}"/>
          </ac:picMkLst>
        </pc:picChg>
      </pc:sldChg>
      <pc:sldChg chg="modSp add mod">
        <pc:chgData name="Maurizio Ragusa" userId="7116ddc8-25eb-4c36-8910-62a6a26d8117" providerId="ADAL" clId="{7EBCB12D-1FBE-45F5-85C0-0E10B5B53851}" dt="2020-12-13T20:43:30.586" v="7184" actId="1076"/>
        <pc:sldMkLst>
          <pc:docMk/>
          <pc:sldMk cId="1967008532" sldId="309"/>
        </pc:sldMkLst>
        <pc:spChg chg="mod">
          <ac:chgData name="Maurizio Ragusa" userId="7116ddc8-25eb-4c36-8910-62a6a26d8117" providerId="ADAL" clId="{7EBCB12D-1FBE-45F5-85C0-0E10B5B53851}" dt="2020-12-13T20:43:17.529" v="7183" actId="14100"/>
          <ac:spMkLst>
            <pc:docMk/>
            <pc:sldMk cId="1967008532" sldId="309"/>
            <ac:spMk id="3" creationId="{59E0EFC8-E636-4746-B361-D06A90671132}"/>
          </ac:spMkLst>
        </pc:spChg>
        <pc:picChg chg="mod">
          <ac:chgData name="Maurizio Ragusa" userId="7116ddc8-25eb-4c36-8910-62a6a26d8117" providerId="ADAL" clId="{7EBCB12D-1FBE-45F5-85C0-0E10B5B53851}" dt="2020-12-13T20:43:30.586" v="7184" actId="1076"/>
          <ac:picMkLst>
            <pc:docMk/>
            <pc:sldMk cId="1967008532" sldId="309"/>
            <ac:picMk id="4" creationId="{AE8EDEC6-78F1-4D77-BF7E-FABED49BC8BE}"/>
          </ac:picMkLst>
        </pc:picChg>
      </pc:sldChg>
      <pc:sldChg chg="delSp modSp add mod">
        <pc:chgData name="Maurizio Ragusa" userId="7116ddc8-25eb-4c36-8910-62a6a26d8117" providerId="ADAL" clId="{7EBCB12D-1FBE-45F5-85C0-0E10B5B53851}" dt="2020-12-14T08:50:23.308" v="7230" actId="20577"/>
        <pc:sldMkLst>
          <pc:docMk/>
          <pc:sldMk cId="2559938320" sldId="310"/>
        </pc:sldMkLst>
        <pc:spChg chg="mod">
          <ac:chgData name="Maurizio Ragusa" userId="7116ddc8-25eb-4c36-8910-62a6a26d8117" providerId="ADAL" clId="{7EBCB12D-1FBE-45F5-85C0-0E10B5B53851}" dt="2020-12-14T08:50:23.308" v="7230" actId="20577"/>
          <ac:spMkLst>
            <pc:docMk/>
            <pc:sldMk cId="2559938320" sldId="310"/>
            <ac:spMk id="2" creationId="{8268C7F0-47D3-4E88-8FAF-126D776250AB}"/>
          </ac:spMkLst>
        </pc:spChg>
        <pc:spChg chg="del">
          <ac:chgData name="Maurizio Ragusa" userId="7116ddc8-25eb-4c36-8910-62a6a26d8117" providerId="ADAL" clId="{7EBCB12D-1FBE-45F5-85C0-0E10B5B53851}" dt="2020-12-14T08:50:01.548" v="7200" actId="478"/>
          <ac:spMkLst>
            <pc:docMk/>
            <pc:sldMk cId="2559938320" sldId="310"/>
            <ac:spMk id="3" creationId="{59E0EFC8-E636-4746-B361-D06A90671132}"/>
          </ac:spMkLst>
        </pc:spChg>
        <pc:spChg chg="del">
          <ac:chgData name="Maurizio Ragusa" userId="7116ddc8-25eb-4c36-8910-62a6a26d8117" providerId="ADAL" clId="{7EBCB12D-1FBE-45F5-85C0-0E10B5B53851}" dt="2020-12-14T08:50:03.890" v="7201" actId="478"/>
          <ac:spMkLst>
            <pc:docMk/>
            <pc:sldMk cId="2559938320" sldId="310"/>
            <ac:spMk id="6" creationId="{185B9F95-1025-4FA1-A013-F04533AB158B}"/>
          </ac:spMkLst>
        </pc:spChg>
        <pc:picChg chg="del">
          <ac:chgData name="Maurizio Ragusa" userId="7116ddc8-25eb-4c36-8910-62a6a26d8117" providerId="ADAL" clId="{7EBCB12D-1FBE-45F5-85C0-0E10B5B53851}" dt="2020-12-14T08:49:59.452" v="7199" actId="478"/>
          <ac:picMkLst>
            <pc:docMk/>
            <pc:sldMk cId="2559938320" sldId="310"/>
            <ac:picMk id="4" creationId="{AE8EDEC6-78F1-4D77-BF7E-FABED49BC8BE}"/>
          </ac:picMkLst>
        </pc:picChg>
      </pc:sldChg>
      <pc:sldChg chg="addSp delSp modSp add mod ord">
        <pc:chgData name="Maurizio Ragusa" userId="7116ddc8-25eb-4c36-8910-62a6a26d8117" providerId="ADAL" clId="{7EBCB12D-1FBE-45F5-85C0-0E10B5B53851}" dt="2020-12-14T09:01:12.813" v="7409" actId="20577"/>
        <pc:sldMkLst>
          <pc:docMk/>
          <pc:sldMk cId="3404930705" sldId="311"/>
        </pc:sldMkLst>
        <pc:spChg chg="add del mod">
          <ac:chgData name="Maurizio Ragusa" userId="7116ddc8-25eb-4c36-8910-62a6a26d8117" providerId="ADAL" clId="{7EBCB12D-1FBE-45F5-85C0-0E10B5B53851}" dt="2020-12-14T09:01:12.813" v="7409" actId="20577"/>
          <ac:spMkLst>
            <pc:docMk/>
            <pc:sldMk cId="3404930705" sldId="311"/>
            <ac:spMk id="4" creationId="{A947A9D5-7CE3-43DB-A2EF-D33F6A4CED48}"/>
          </ac:spMkLst>
        </pc:spChg>
        <pc:picChg chg="del">
          <ac:chgData name="Maurizio Ragusa" userId="7116ddc8-25eb-4c36-8910-62a6a26d8117" providerId="ADAL" clId="{7EBCB12D-1FBE-45F5-85C0-0E10B5B53851}" dt="2020-12-14T08:57:43.072" v="7236" actId="478"/>
          <ac:picMkLst>
            <pc:docMk/>
            <pc:sldMk cId="3404930705" sldId="311"/>
            <ac:picMk id="4098" creationId="{4B76DE0F-F377-4B2A-9523-A70CA60B8168}"/>
          </ac:picMkLst>
        </pc:picChg>
      </pc:sldChg>
      <pc:sldChg chg="addSp delSp modSp add mod">
        <pc:chgData name="Maurizio Ragusa" userId="7116ddc8-25eb-4c36-8910-62a6a26d8117" providerId="ADAL" clId="{7EBCB12D-1FBE-45F5-85C0-0E10B5B53851}" dt="2020-12-14T11:53:58.241" v="8105" actId="20577"/>
        <pc:sldMkLst>
          <pc:docMk/>
          <pc:sldMk cId="2317777952" sldId="312"/>
        </pc:sldMkLst>
        <pc:spChg chg="mod">
          <ac:chgData name="Maurizio Ragusa" userId="7116ddc8-25eb-4c36-8910-62a6a26d8117" providerId="ADAL" clId="{7EBCB12D-1FBE-45F5-85C0-0E10B5B53851}" dt="2020-12-14T11:53:58.241" v="8105" actId="20577"/>
          <ac:spMkLst>
            <pc:docMk/>
            <pc:sldMk cId="2317777952" sldId="312"/>
            <ac:spMk id="5" creationId="{A57969B1-C891-47AB-98F2-12459B7A0C6A}"/>
          </ac:spMkLst>
        </pc:spChg>
        <pc:spChg chg="del mod">
          <ac:chgData name="Maurizio Ragusa" userId="7116ddc8-25eb-4c36-8910-62a6a26d8117" providerId="ADAL" clId="{7EBCB12D-1FBE-45F5-85C0-0E10B5B53851}" dt="2020-12-14T11:09:16.992" v="7771" actId="478"/>
          <ac:spMkLst>
            <pc:docMk/>
            <pc:sldMk cId="2317777952" sldId="312"/>
            <ac:spMk id="6" creationId="{759A4943-2029-412B-BA6B-5E1F3F940AF6}"/>
          </ac:spMkLst>
        </pc:spChg>
        <pc:picChg chg="add mod">
          <ac:chgData name="Maurizio Ragusa" userId="7116ddc8-25eb-4c36-8910-62a6a26d8117" providerId="ADAL" clId="{7EBCB12D-1FBE-45F5-85C0-0E10B5B53851}" dt="2020-12-14T11:53:24.812" v="8031" actId="1076"/>
          <ac:picMkLst>
            <pc:docMk/>
            <pc:sldMk cId="2317777952" sldId="312"/>
            <ac:picMk id="5122" creationId="{BECE2F86-BB2D-4270-AA16-7F30A642F135}"/>
          </ac:picMkLst>
        </pc:picChg>
        <pc:picChg chg="del">
          <ac:chgData name="Maurizio Ragusa" userId="7116ddc8-25eb-4c36-8910-62a6a26d8117" providerId="ADAL" clId="{7EBCB12D-1FBE-45F5-85C0-0E10B5B53851}" dt="2020-12-14T09:35:04.066" v="7411" actId="478"/>
          <ac:picMkLst>
            <pc:docMk/>
            <pc:sldMk cId="2317777952" sldId="312"/>
            <ac:picMk id="10242" creationId="{2842F07F-85B8-4950-A321-8CFAF1520FB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F85B749-5B19-48BD-96E3-A192B37ACB1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410868-720F-48B8-AD20-62388735D11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BEFA10-2B81-45B0-905E-E8E6E3BB96A1}" type="datetimeFigureOut">
              <a:rPr lang="it-IT" smtClean="0"/>
              <a:t>13/12/2020</a:t>
            </a:fld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B6A989-4353-401F-A6E3-77C30C8A0B0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A3C876-9DD9-4DDA-B0ED-FC76FD26D7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1DFBE6-22FE-4F62-9B23-F09D2043312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207772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169920" cy="481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45" tIns="48309" rIns="96645" bIns="48309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143587" y="0"/>
            <a:ext cx="3169920" cy="481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45" tIns="48309" rIns="96645" bIns="48309" anchor="t" anchorCtr="0"/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45" tIns="48309" rIns="96645" bIns="48309" anchor="t" anchorCtr="0"/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119474"/>
            <a:ext cx="3169920" cy="481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45" tIns="48309" rIns="96645" bIns="48309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45" tIns="48309" rIns="96645" bIns="48309" anchor="b" anchorCtr="0">
            <a:noAutofit/>
          </a:bodyPr>
          <a:lstStyle/>
          <a:p>
            <a:pPr algn="r"/>
            <a:fld id="{00000000-1234-1234-1234-123412341234}" type="slidenum">
              <a:rPr lang="it-IT" sz="13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‹#›</a:t>
            </a:fld>
            <a:endParaRPr lang="it-IT"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g46ccc69e2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g46ccc69e2c_0_0:notes"/>
          <p:cNvSpPr txBox="1">
            <a:spLocks noGrp="1"/>
          </p:cNvSpPr>
          <p:nvPr>
            <p:ph type="body" idx="1"/>
          </p:nvPr>
        </p:nvSpPr>
        <p:spPr>
          <a:xfrm>
            <a:off x="731520" y="4620578"/>
            <a:ext cx="5852160" cy="3780630"/>
          </a:xfrm>
          <a:prstGeom prst="rect">
            <a:avLst/>
          </a:prstGeom>
        </p:spPr>
        <p:txBody>
          <a:bodyPr spcFirstLastPara="1" wrap="square" lIns="96645" tIns="48309" rIns="96645" bIns="48309" anchor="t" anchorCtr="0">
            <a:noAutofit/>
          </a:bodyPr>
          <a:lstStyle/>
          <a:p>
            <a:pPr marL="0" indent="0"/>
            <a:endParaRPr dirty="0"/>
          </a:p>
        </p:txBody>
      </p:sp>
      <p:sp>
        <p:nvSpPr>
          <p:cNvPr id="106" name="Google Shape;106;g46ccc69e2c_0_0:notes"/>
          <p:cNvSpPr txBox="1">
            <a:spLocks noGrp="1"/>
          </p:cNvSpPr>
          <p:nvPr>
            <p:ph type="sldNum" idx="12"/>
          </p:nvPr>
        </p:nvSpPr>
        <p:spPr>
          <a:xfrm>
            <a:off x="4143587" y="9119474"/>
            <a:ext cx="3169920" cy="481635"/>
          </a:xfrm>
          <a:prstGeom prst="rect">
            <a:avLst/>
          </a:prstGeom>
        </p:spPr>
        <p:txBody>
          <a:bodyPr spcFirstLastPara="1" wrap="square" lIns="96645" tIns="48309" rIns="96645" bIns="48309" anchor="b" anchorCtr="0">
            <a:noAutofit/>
          </a:bodyPr>
          <a:lstStyle/>
          <a:p>
            <a:pPr algn="r">
              <a:buClr>
                <a:srgbClr val="000000"/>
              </a:buClr>
            </a:pPr>
            <a:fld id="{00000000-1234-1234-1234-123412341234}" type="slidenum">
              <a:rPr lang="it-IT"/>
              <a:pPr algn="r">
                <a:buClr>
                  <a:srgbClr val="000000"/>
                </a:buClr>
              </a:pPr>
              <a:t>1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54424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it-IT" sz="13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18</a:t>
            </a:fld>
            <a:endParaRPr lang="it-IT"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6819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it-IT" sz="13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19</a:t>
            </a:fld>
            <a:endParaRPr lang="it-IT"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765269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it-IT" sz="13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20</a:t>
            </a:fld>
            <a:endParaRPr lang="it-IT"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166471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it-IT" sz="13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21</a:t>
            </a:fld>
            <a:endParaRPr lang="it-IT"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79850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it-IT" sz="13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22</a:t>
            </a:fld>
            <a:endParaRPr lang="it-IT"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42982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it-IT" sz="13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24</a:t>
            </a:fld>
            <a:endParaRPr lang="it-IT"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33252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eda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B821767F-4970-4D45-B82F-965987E809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01970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B821767F-4970-4D45-B82F-965987E809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tangolo 6" hidden="1">
            <a:extLst>
              <a:ext uri="{FF2B5EF4-FFF2-40B4-BE49-F238E27FC236}">
                <a16:creationId xmlns:a16="http://schemas.microsoft.com/office/drawing/2014/main" id="{A157A6DE-14BD-4F15-88F9-A81D885EB5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2134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base" preserve="1" userDrawn="1">
  <p:cSld name="Titolo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14C21CC1-26CC-7343-A26E-1651D3BF54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5490" y="680984"/>
            <a:ext cx="10008372" cy="3877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2800">
                <a:solidFill>
                  <a:srgbClr val="626D7B"/>
                </a:solidFill>
              </a:defRPr>
            </a:lvl1pPr>
          </a:lstStyle>
          <a:p>
            <a:r>
              <a:rPr lang="it-IT" dirty="0"/>
              <a:t>Fare clic per modificare lo stile del titolo dello schema</a:t>
            </a:r>
            <a:endParaRPr lang="en-US" dirty="0"/>
          </a:p>
        </p:txBody>
      </p:sp>
      <p:pic>
        <p:nvPicPr>
          <p:cNvPr id="38" name="Immagine 37">
            <a:extLst>
              <a:ext uri="{FF2B5EF4-FFF2-40B4-BE49-F238E27FC236}">
                <a16:creationId xmlns:a16="http://schemas.microsoft.com/office/drawing/2014/main" id="{99F565D9-3435-8C4C-A845-0F32C2C66B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500" y="6251126"/>
            <a:ext cx="1754683" cy="292447"/>
          </a:xfrm>
          <a:prstGeom prst="rect">
            <a:avLst/>
          </a:prstGeom>
        </p:spPr>
      </p:pic>
      <p:sp>
        <p:nvSpPr>
          <p:cNvPr id="43" name="Segnaposto testo 42">
            <a:extLst>
              <a:ext uri="{FF2B5EF4-FFF2-40B4-BE49-F238E27FC236}">
                <a16:creationId xmlns:a16="http://schemas.microsoft.com/office/drawing/2014/main" id="{CB841249-B843-9E40-BE96-E6F2FF8C5E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9501" y="2618076"/>
            <a:ext cx="5016500" cy="257810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28B8CE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Modifica gli stili del testo dello schema
Secondo livello
Terzo livello
Quarto livello
Quinto livello</a:t>
            </a:r>
          </a:p>
        </p:txBody>
      </p:sp>
      <p:cxnSp>
        <p:nvCxnSpPr>
          <p:cNvPr id="45" name="Connettore 1 44">
            <a:extLst>
              <a:ext uri="{FF2B5EF4-FFF2-40B4-BE49-F238E27FC236}">
                <a16:creationId xmlns:a16="http://schemas.microsoft.com/office/drawing/2014/main" id="{8650822A-D478-7D4F-B068-33561EB01813}"/>
              </a:ext>
            </a:extLst>
          </p:cNvPr>
          <p:cNvCxnSpPr/>
          <p:nvPr userDrawn="1"/>
        </p:nvCxnSpPr>
        <p:spPr>
          <a:xfrm>
            <a:off x="1079500" y="6179189"/>
            <a:ext cx="10020300" cy="0"/>
          </a:xfrm>
          <a:prstGeom prst="line">
            <a:avLst/>
          </a:prstGeom>
          <a:ln w="15875">
            <a:solidFill>
              <a:srgbClr val="28B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9099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0">
          <p15:clr>
            <a:srgbClr val="D9D9D9"/>
          </p15:clr>
        </p15:guide>
        <p15:guide id="2" pos="6992" userDrawn="1">
          <p15:clr>
            <a:srgbClr val="D9D9D9"/>
          </p15:clr>
        </p15:guide>
        <p15:guide id="3" orient="horz" pos="459" userDrawn="1">
          <p15:clr>
            <a:srgbClr val="D9D9D9"/>
          </p15:clr>
        </p15:guide>
        <p15:guide id="4" orient="horz" pos="3855">
          <p15:clr>
            <a:srgbClr val="D9D9D9"/>
          </p15:clr>
        </p15:guide>
        <p15:guide id="5" orient="horz" pos="3634" userDrawn="1">
          <p15:clr>
            <a:srgbClr val="F9AD4C"/>
          </p15:clr>
        </p15:guide>
        <p15:guide id="6" orient="horz" pos="618" userDrawn="1">
          <p15:clr>
            <a:srgbClr val="F9AD4C"/>
          </p15:clr>
        </p15:guide>
        <p15:guide id="7" pos="3840">
          <p15:clr>
            <a:srgbClr val="FF00FF"/>
          </p15:clr>
        </p15:guide>
        <p15:guide id="8" orient="horz" pos="2160">
          <p15:clr>
            <a:srgbClr val="FF00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base" preserve="1" userDrawn="1">
  <p:cSld name="Sottotitolo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14C21CC1-26CC-7343-A26E-1651D3BF54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5490" y="678810"/>
            <a:ext cx="10008372" cy="3877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2800">
                <a:solidFill>
                  <a:srgbClr val="626D7B"/>
                </a:solidFill>
              </a:defRPr>
            </a:lvl1pPr>
          </a:lstStyle>
          <a:p>
            <a:r>
              <a:rPr lang="it-IT" dirty="0"/>
              <a:t>Fare clic per modificare lo stile del titolo dello schema</a:t>
            </a:r>
            <a:endParaRPr lang="en-US" dirty="0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A5F0277A-83F5-BD4B-8922-41024FCB17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3931" y="1066608"/>
            <a:ext cx="10002512" cy="307248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1600">
                <a:solidFill>
                  <a:srgbClr val="626D7B"/>
                </a:solidFill>
                <a:latin typeface="+mj-lt"/>
              </a:defRPr>
            </a:lvl1pPr>
          </a:lstStyle>
          <a:p>
            <a:r>
              <a:rPr lang="it-IT" dirty="0"/>
              <a:t>Sottotitolo</a:t>
            </a:r>
          </a:p>
        </p:txBody>
      </p:sp>
      <p:sp>
        <p:nvSpPr>
          <p:cNvPr id="40" name="Segnaposto contenuto 39" descr="  ">
            <a:extLst>
              <a:ext uri="{FF2B5EF4-FFF2-40B4-BE49-F238E27FC236}">
                <a16:creationId xmlns:a16="http://schemas.microsoft.com/office/drawing/2014/main" id="{64B31F1C-BA67-B749-97C9-76ECB91AAA7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 rot="5400000">
            <a:off x="962079" y="1184029"/>
            <a:ext cx="307247" cy="72406"/>
          </a:xfrm>
          <a:prstGeom prst="rect">
            <a:avLst/>
          </a:prstGeom>
          <a:solidFill>
            <a:srgbClr val="28B8CE"/>
          </a:solidFill>
        </p:spPr>
        <p:txBody>
          <a:bodyPr lIns="0" tIns="0" rIns="0" bIns="0"/>
          <a:lstStyle>
            <a:lvl1pPr>
              <a:defRPr>
                <a:noFill/>
              </a:defRPr>
            </a:lvl1pPr>
          </a:lstStyle>
          <a:p>
            <a:endParaRPr lang="it-IT" dirty="0"/>
          </a:p>
        </p:txBody>
      </p:sp>
      <p:sp>
        <p:nvSpPr>
          <p:cNvPr id="10" name="Segnaposto testo 42">
            <a:extLst>
              <a:ext uri="{FF2B5EF4-FFF2-40B4-BE49-F238E27FC236}">
                <a16:creationId xmlns:a16="http://schemas.microsoft.com/office/drawing/2014/main" id="{95F81A41-453B-DB47-9E77-941BDE66A8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9501" y="2618942"/>
            <a:ext cx="5016500" cy="257810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28B8CE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Modifica gli stili del testo dello schema
Secondo livello
Terzo livello
Quarto livello
Quinto livello</a:t>
            </a:r>
          </a:p>
        </p:txBody>
      </p:sp>
      <p:sp>
        <p:nvSpPr>
          <p:cNvPr id="11" name="Google Shape;44;p8">
            <a:extLst>
              <a:ext uri="{FF2B5EF4-FFF2-40B4-BE49-F238E27FC236}">
                <a16:creationId xmlns:a16="http://schemas.microsoft.com/office/drawing/2014/main" id="{DC854B48-A8E1-984E-A29F-6A4F3A097D73}"/>
              </a:ext>
            </a:extLst>
          </p:cNvPr>
          <p:cNvSpPr/>
          <p:nvPr userDrawn="1"/>
        </p:nvSpPr>
        <p:spPr>
          <a:xfrm>
            <a:off x="10565700" y="6269373"/>
            <a:ext cx="534100" cy="274200"/>
          </a:xfrm>
          <a:prstGeom prst="roundRect">
            <a:avLst>
              <a:gd name="adj" fmla="val 16667"/>
            </a:avLst>
          </a:prstGeom>
          <a:solidFill>
            <a:srgbClr val="CDF2F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45;p8">
            <a:extLst>
              <a:ext uri="{FF2B5EF4-FFF2-40B4-BE49-F238E27FC236}">
                <a16:creationId xmlns:a16="http://schemas.microsoft.com/office/drawing/2014/main" id="{77F640E9-2679-5140-989A-EA84D8E065F9}"/>
              </a:ext>
            </a:extLst>
          </p:cNvPr>
          <p:cNvSpPr txBox="1"/>
          <p:nvPr userDrawn="1"/>
        </p:nvSpPr>
        <p:spPr>
          <a:xfrm>
            <a:off x="10565700" y="6326248"/>
            <a:ext cx="522302" cy="1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z="1200" i="0" u="none" strike="noStrike" cap="none">
                <a:solidFill>
                  <a:srgbClr val="626D7B"/>
                </a:solidFill>
              </a:rPr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200" i="0" u="none" strike="noStrike" cap="none" dirty="0">
              <a:solidFill>
                <a:srgbClr val="626D7B"/>
              </a:solidFill>
            </a:endParaRP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E7657F6F-16CB-2F49-8E6C-D95056663C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500" y="6251126"/>
            <a:ext cx="1754683" cy="292447"/>
          </a:xfrm>
          <a:prstGeom prst="rect">
            <a:avLst/>
          </a:prstGeom>
        </p:spPr>
      </p:pic>
      <p:cxnSp>
        <p:nvCxnSpPr>
          <p:cNvPr id="14" name="Connettore 1 13">
            <a:extLst>
              <a:ext uri="{FF2B5EF4-FFF2-40B4-BE49-F238E27FC236}">
                <a16:creationId xmlns:a16="http://schemas.microsoft.com/office/drawing/2014/main" id="{37236A0F-1458-D44B-A041-DA4D24CC60B2}"/>
              </a:ext>
            </a:extLst>
          </p:cNvPr>
          <p:cNvCxnSpPr/>
          <p:nvPr userDrawn="1"/>
        </p:nvCxnSpPr>
        <p:spPr>
          <a:xfrm>
            <a:off x="1079500" y="6179189"/>
            <a:ext cx="10020300" cy="0"/>
          </a:xfrm>
          <a:prstGeom prst="line">
            <a:avLst/>
          </a:prstGeom>
          <a:ln w="15875">
            <a:solidFill>
              <a:srgbClr val="28B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7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0">
          <p15:clr>
            <a:srgbClr val="D9D9D9"/>
          </p15:clr>
        </p15:guide>
        <p15:guide id="2" pos="6992">
          <p15:clr>
            <a:srgbClr val="D9D9D9"/>
          </p15:clr>
        </p15:guide>
        <p15:guide id="3" orient="horz" pos="459">
          <p15:clr>
            <a:srgbClr val="D9D9D9"/>
          </p15:clr>
        </p15:guide>
        <p15:guide id="4" orient="horz" pos="3855">
          <p15:clr>
            <a:srgbClr val="D9D9D9"/>
          </p15:clr>
        </p15:guide>
        <p15:guide id="5" orient="horz" pos="3634">
          <p15:clr>
            <a:srgbClr val="F9AD4C"/>
          </p15:clr>
        </p15:guide>
        <p15:guide id="6" orient="horz" pos="618" userDrawn="1">
          <p15:clr>
            <a:srgbClr val="F9AD4C"/>
          </p15:clr>
        </p15:guide>
        <p15:guide id="7" pos="3840">
          <p15:clr>
            <a:srgbClr val="FF00FF"/>
          </p15:clr>
        </p15:guide>
        <p15:guide id="8" orient="horz" pos="2160">
          <p15:clr>
            <a:srgbClr val="FF00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pertura" userDrawn="1">
  <p:cSld name="Apertura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08;p16">
            <a:extLst>
              <a:ext uri="{FF2B5EF4-FFF2-40B4-BE49-F238E27FC236}">
                <a16:creationId xmlns:a16="http://schemas.microsoft.com/office/drawing/2014/main" id="{306E3CF2-D50A-4042-A5D3-F07C30B97B94}"/>
              </a:ext>
            </a:extLst>
          </p:cNvPr>
          <p:cNvSpPr txBox="1">
            <a:spLocks noGrp="1"/>
          </p:cNvSpPr>
          <p:nvPr>
            <p:ph type="ctrTitle" hasCustomPrompt="1"/>
          </p:nvPr>
        </p:nvSpPr>
        <p:spPr>
          <a:xfrm>
            <a:off x="1690200" y="5245156"/>
            <a:ext cx="8811600" cy="60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dirty="0">
                <a:solidFill>
                  <a:srgbClr val="FFFFFF"/>
                </a:solidFill>
              </a:rPr>
              <a:t>Data </a:t>
            </a:r>
            <a:endParaRPr dirty="0"/>
          </a:p>
        </p:txBody>
      </p:sp>
      <p:cxnSp>
        <p:nvCxnSpPr>
          <p:cNvPr id="5" name="Connettore 1 4">
            <a:extLst>
              <a:ext uri="{FF2B5EF4-FFF2-40B4-BE49-F238E27FC236}">
                <a16:creationId xmlns:a16="http://schemas.microsoft.com/office/drawing/2014/main" id="{493E0D17-FB17-D246-9360-1A8504E12566}"/>
              </a:ext>
            </a:extLst>
          </p:cNvPr>
          <p:cNvCxnSpPr>
            <a:cxnSpLocks/>
          </p:cNvCxnSpPr>
          <p:nvPr userDrawn="1"/>
        </p:nvCxnSpPr>
        <p:spPr>
          <a:xfrm>
            <a:off x="1599364" y="4732317"/>
            <a:ext cx="0" cy="783771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magine 5">
            <a:extLst>
              <a:ext uri="{FF2B5EF4-FFF2-40B4-BE49-F238E27FC236}">
                <a16:creationId xmlns:a16="http://schemas.microsoft.com/office/drawing/2014/main" id="{5776A3C7-9527-4F42-8C42-1EE54C42C36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51710" y="1480265"/>
            <a:ext cx="5288580" cy="881430"/>
          </a:xfrm>
          <a:prstGeom prst="rect">
            <a:avLst/>
          </a:prstGeom>
        </p:spPr>
      </p:pic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268D24-B750-2A46-AD21-81F1F77A14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90688" y="4602426"/>
            <a:ext cx="8810625" cy="642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Titolo presentazione</a:t>
            </a:r>
          </a:p>
        </p:txBody>
      </p:sp>
    </p:spTree>
    <p:extLst>
      <p:ext uri="{BB962C8B-B14F-4D97-AF65-F5344CB8AC3E}">
        <p14:creationId xmlns:p14="http://schemas.microsoft.com/office/powerpoint/2010/main" val="634279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E0C18C25-1343-4346-9A72-566C1744A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E0C18C25-1343-4346-9A72-566C1744A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tangolo 6" hidden="1">
            <a:extLst>
              <a:ext uri="{FF2B5EF4-FFF2-40B4-BE49-F238E27FC236}">
                <a16:creationId xmlns:a16="http://schemas.microsoft.com/office/drawing/2014/main" id="{A475D95E-B5EA-423D-9AA4-8A1CB347A9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15020240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52CB17FC-4253-48C2-B9FB-468D41234C56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6291041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306" imgH="306" progId="TCLayout.ActiveDocument.1">
                  <p:embed/>
                </p:oleObj>
              </mc:Choice>
              <mc:Fallback>
                <p:oleObj name="think-cell Slide" r:id="rId10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52CB17FC-4253-48C2-B9FB-468D41234C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tangolo 6" hidden="1">
            <a:extLst>
              <a:ext uri="{FF2B5EF4-FFF2-40B4-BE49-F238E27FC236}">
                <a16:creationId xmlns:a16="http://schemas.microsoft.com/office/drawing/2014/main" id="{F63A7274-0EA9-42ED-89B9-AA604780CDB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6760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8" r:id="rId2"/>
    <p:sldLayoutId id="2147483709" r:id="rId3"/>
    <p:sldLayoutId id="2147483710" r:id="rId4"/>
    <p:sldLayoutId id="2147483711" r:id="rId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.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11">
            <a:extLst>
              <a:ext uri="{FF2B5EF4-FFF2-40B4-BE49-F238E27FC236}">
                <a16:creationId xmlns:a16="http://schemas.microsoft.com/office/drawing/2014/main" id="{4A34DA86-8EEE-144F-84D6-C02ABDD1D9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90200" y="4627630"/>
            <a:ext cx="8810625" cy="642730"/>
          </a:xfrm>
        </p:spPr>
        <p:txBody>
          <a:bodyPr/>
          <a:lstStyle/>
          <a:p>
            <a:r>
              <a:rPr lang="it-IT" dirty="0"/>
              <a:t>Time Series Models</a:t>
            </a:r>
          </a:p>
        </p:txBody>
      </p:sp>
      <p:sp>
        <p:nvSpPr>
          <p:cNvPr id="14" name="Titolo 13">
            <a:extLst>
              <a:ext uri="{FF2B5EF4-FFF2-40B4-BE49-F238E27FC236}">
                <a16:creationId xmlns:a16="http://schemas.microsoft.com/office/drawing/2014/main" id="{7E8BE347-D6F4-9846-991E-C390F9F284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err="1">
                <a:solidFill>
                  <a:srgbClr val="FFFFFF"/>
                </a:solidFill>
              </a:rPr>
              <a:t>December</a:t>
            </a:r>
            <a:r>
              <a:rPr lang="it-IT" dirty="0">
                <a:solidFill>
                  <a:srgbClr val="FFFFFF"/>
                </a:solidFill>
              </a:rPr>
              <a:t> 14th, 2020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382362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Proprietà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140902"/>
            <a:ext cx="3385926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Stazionarietà</a:t>
            </a:r>
            <a:endParaRPr lang="en-US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7969B1-C891-47AB-98F2-12459B7A0C6A}"/>
              </a:ext>
            </a:extLst>
          </p:cNvPr>
          <p:cNvSpPr txBox="1"/>
          <p:nvPr/>
        </p:nvSpPr>
        <p:spPr>
          <a:xfrm>
            <a:off x="1085490" y="1675418"/>
            <a:ext cx="7690104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Una serie stazionaria è più facile da trattare statisticamente. Quindi è buona prassi </a:t>
            </a:r>
            <a:r>
              <a:rPr lang="it-IT" dirty="0" err="1"/>
              <a:t>detrendizzare</a:t>
            </a:r>
            <a:r>
              <a:rPr lang="it-IT" dirty="0"/>
              <a:t> e destagionalizzare le time </a:t>
            </a:r>
            <a:r>
              <a:rPr lang="it-IT" dirty="0" err="1"/>
              <a:t>series</a:t>
            </a:r>
            <a:r>
              <a:rPr lang="it-IT" dirty="0"/>
              <a:t>.</a:t>
            </a:r>
          </a:p>
          <a:p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Rimuovere il trend: differenziando X(t+1) – X(t) (eventualmente più volt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Rimuovere la stagionalità: differenziando per il periodo X(</a:t>
            </a:r>
            <a:r>
              <a:rPr lang="it-IT" dirty="0" err="1"/>
              <a:t>t+h</a:t>
            </a:r>
            <a:r>
              <a:rPr lang="it-IT" dirty="0"/>
              <a:t>) – X(t)</a:t>
            </a:r>
          </a:p>
          <a:p>
            <a:endParaRPr lang="it-IT" dirty="0"/>
          </a:p>
          <a:p>
            <a:r>
              <a:rPr lang="it-IT" dirty="0"/>
              <a:t>Non tutte le serie sono </a:t>
            </a:r>
            <a:r>
              <a:rPr lang="it-IT" dirty="0" err="1"/>
              <a:t>stazionarizzabili</a:t>
            </a:r>
            <a:r>
              <a:rPr lang="it-IT" dirty="0"/>
              <a:t> (es: residui dalla serie del traffico brand)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BECE2F86-BB2D-4270-AA16-7F30A642F1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4488" y="3655001"/>
            <a:ext cx="6810375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77779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Proprietà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140902"/>
            <a:ext cx="3385926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Autocorrelazione</a:t>
            </a:r>
            <a:endParaRPr lang="en-US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7969B1-C891-47AB-98F2-12459B7A0C6A}"/>
              </a:ext>
            </a:extLst>
          </p:cNvPr>
          <p:cNvSpPr txBox="1"/>
          <p:nvPr/>
        </p:nvSpPr>
        <p:spPr>
          <a:xfrm>
            <a:off x="1188720" y="1611411"/>
            <a:ext cx="580227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Una serie è </a:t>
            </a:r>
            <a:r>
              <a:rPr lang="it-IT" i="1" dirty="0"/>
              <a:t>autocorrelata</a:t>
            </a:r>
            <a:r>
              <a:rPr lang="it-IT" dirty="0"/>
              <a:t> con </a:t>
            </a:r>
            <a:r>
              <a:rPr lang="it-IT" dirty="0" err="1"/>
              <a:t>lag</a:t>
            </a:r>
            <a:r>
              <a:rPr lang="it-IT" dirty="0"/>
              <a:t> h se X(t) è correlato a X(</a:t>
            </a:r>
            <a:r>
              <a:rPr lang="it-IT" dirty="0" err="1"/>
              <a:t>t+h</a:t>
            </a:r>
            <a:r>
              <a:rPr lang="it-IT" dirty="0"/>
              <a:t>)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9A4943-2029-412B-BA6B-5E1F3F940AF6}"/>
              </a:ext>
            </a:extLst>
          </p:cNvPr>
          <p:cNvSpPr txBox="1"/>
          <p:nvPr/>
        </p:nvSpPr>
        <p:spPr>
          <a:xfrm>
            <a:off x="1188720" y="2081921"/>
            <a:ext cx="538581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Studiare l’autocorrelazione è utile per determinare la stagionalità: </a:t>
            </a:r>
          </a:p>
          <a:p>
            <a:pPr algn="l"/>
            <a:endParaRPr lang="it-IT" dirty="0"/>
          </a:p>
        </p:txBody>
      </p:sp>
      <p:pic>
        <p:nvPicPr>
          <p:cNvPr id="5126" name="Picture 6">
            <a:extLst>
              <a:ext uri="{FF2B5EF4-FFF2-40B4-BE49-F238E27FC236}">
                <a16:creationId xmlns:a16="http://schemas.microsoft.com/office/drawing/2014/main" id="{B1D29470-0FD3-4B83-BADD-7D9F9519D4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9132" y="2678301"/>
            <a:ext cx="4544796" cy="3157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>
            <a:extLst>
              <a:ext uri="{FF2B5EF4-FFF2-40B4-BE49-F238E27FC236}">
                <a16:creationId xmlns:a16="http://schemas.microsoft.com/office/drawing/2014/main" id="{45AE8EB5-3959-4C78-A3E9-FEC158FB6D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490" y="2737550"/>
            <a:ext cx="4614900" cy="2938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49131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i di prevision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330382"/>
            <a:ext cx="3385926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Modelli statistici:</a:t>
            </a:r>
            <a:endParaRPr lang="en-US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9A4943-2029-412B-BA6B-5E1F3F940AF6}"/>
              </a:ext>
            </a:extLst>
          </p:cNvPr>
          <p:cNvSpPr txBox="1"/>
          <p:nvPr/>
        </p:nvSpPr>
        <p:spPr>
          <a:xfrm>
            <a:off x="1085490" y="1821425"/>
            <a:ext cx="4108302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 err="1"/>
              <a:t>Naive</a:t>
            </a:r>
            <a:r>
              <a:rPr lang="it-IT" dirty="0"/>
              <a:t> model (benchmark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 err="1"/>
              <a:t>Autoregression</a:t>
            </a:r>
            <a:r>
              <a:rPr lang="it-IT" dirty="0"/>
              <a:t> model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 err="1"/>
              <a:t>Moving</a:t>
            </a:r>
            <a:r>
              <a:rPr lang="it-IT" dirty="0"/>
              <a:t> </a:t>
            </a:r>
            <a:r>
              <a:rPr lang="it-IT" dirty="0" err="1"/>
              <a:t>average</a:t>
            </a:r>
            <a:endParaRPr lang="it-IT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ARIMA, SARIMA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 err="1"/>
              <a:t>Exponential</a:t>
            </a:r>
            <a:r>
              <a:rPr lang="it-IT" dirty="0"/>
              <a:t> </a:t>
            </a:r>
            <a:r>
              <a:rPr lang="it-IT" dirty="0" err="1"/>
              <a:t>Smoothing</a:t>
            </a:r>
            <a:endParaRPr lang="it-IT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…</a:t>
            </a:r>
          </a:p>
          <a:p>
            <a:pPr algn="l"/>
            <a:endParaRPr lang="it-IT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0FA71D-A7E9-4640-BC29-9C233756E962}"/>
              </a:ext>
            </a:extLst>
          </p:cNvPr>
          <p:cNvSpPr txBox="1">
            <a:spLocks/>
          </p:cNvSpPr>
          <p:nvPr/>
        </p:nvSpPr>
        <p:spPr>
          <a:xfrm>
            <a:off x="5822082" y="1330381"/>
            <a:ext cx="3385926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Modelli deep learning:</a:t>
            </a:r>
            <a:endParaRPr lang="en-US" sz="2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46009A-428C-4FB1-B373-3F61A4C222AD}"/>
              </a:ext>
            </a:extLst>
          </p:cNvPr>
          <p:cNvSpPr txBox="1"/>
          <p:nvPr/>
        </p:nvSpPr>
        <p:spPr>
          <a:xfrm>
            <a:off x="5708046" y="1821423"/>
            <a:ext cx="5385816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LP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RN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LSTM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CN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2B6E6A-92FB-4910-A680-66BB91E8AEAB}"/>
              </a:ext>
            </a:extLst>
          </p:cNvPr>
          <p:cNvSpPr txBox="1"/>
          <p:nvPr/>
        </p:nvSpPr>
        <p:spPr>
          <a:xfrm>
            <a:off x="1085490" y="3697460"/>
            <a:ext cx="868030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dirty="0"/>
              <a:t>L’efficacia di un modello si calcola confrontando il modello predittivo, con i dati reali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RMSE (root </a:t>
            </a:r>
            <a:r>
              <a:rPr lang="it-IT" dirty="0" err="1"/>
              <a:t>mean</a:t>
            </a:r>
            <a:r>
              <a:rPr lang="it-IT" dirty="0"/>
              <a:t> </a:t>
            </a:r>
            <a:r>
              <a:rPr lang="it-IT" dirty="0" err="1"/>
              <a:t>squared</a:t>
            </a:r>
            <a:r>
              <a:rPr lang="it-IT" dirty="0"/>
              <a:t> </a:t>
            </a:r>
            <a:r>
              <a:rPr lang="it-IT" dirty="0" err="1"/>
              <a:t>error</a:t>
            </a:r>
            <a:r>
              <a:rPr lang="it-IT" dirty="0"/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MAPE (</a:t>
            </a:r>
            <a:r>
              <a:rPr lang="it-IT" dirty="0" err="1"/>
              <a:t>mean</a:t>
            </a:r>
            <a:r>
              <a:rPr lang="it-IT" dirty="0"/>
              <a:t> </a:t>
            </a:r>
            <a:r>
              <a:rPr lang="it-IT" dirty="0" err="1"/>
              <a:t>absolute</a:t>
            </a:r>
            <a:r>
              <a:rPr lang="it-IT" dirty="0"/>
              <a:t> </a:t>
            </a:r>
            <a:r>
              <a:rPr lang="it-IT" dirty="0" err="1"/>
              <a:t>percentage</a:t>
            </a:r>
            <a:r>
              <a:rPr lang="it-IT" dirty="0"/>
              <a:t> errore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FB3D6E-2FDC-4D2E-8A28-44740EEB8FB5}"/>
              </a:ext>
            </a:extLst>
          </p:cNvPr>
          <p:cNvSpPr txBox="1"/>
          <p:nvPr/>
        </p:nvSpPr>
        <p:spPr>
          <a:xfrm>
            <a:off x="1085490" y="4805454"/>
            <a:ext cx="868030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dirty="0"/>
              <a:t>Tutti i modelli vengono costruiti su un sottoinsieme di valori (</a:t>
            </a:r>
            <a:r>
              <a:rPr lang="it-IT" dirty="0" err="1"/>
              <a:t>train</a:t>
            </a:r>
            <a:r>
              <a:rPr lang="it-IT" dirty="0"/>
              <a:t>), per poi testati su un altro sottoinsieme (</a:t>
            </a:r>
            <a:r>
              <a:rPr lang="it-IT" dirty="0" err="1"/>
              <a:t>validation</a:t>
            </a:r>
            <a:r>
              <a:rPr lang="it-IT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487704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i statistici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330382"/>
            <a:ext cx="3385926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 err="1"/>
              <a:t>Autoregression</a:t>
            </a:r>
            <a:r>
              <a:rPr lang="it-IT" sz="2000" dirty="0"/>
              <a:t> model</a:t>
            </a:r>
            <a:endParaRPr lang="en-US" sz="2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4CA449-A8AE-4F8C-94DD-32C9D0A90BE6}"/>
              </a:ext>
            </a:extLst>
          </p:cNvPr>
          <p:cNvSpPr txBox="1"/>
          <p:nvPr/>
        </p:nvSpPr>
        <p:spPr>
          <a:xfrm>
            <a:off x="1085490" y="1868981"/>
            <a:ext cx="716239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dirty="0"/>
              <a:t>Y(</a:t>
            </a:r>
            <a:r>
              <a:rPr lang="it-IT" dirty="0" err="1"/>
              <a:t>t+p</a:t>
            </a:r>
            <a:r>
              <a:rPr lang="it-IT" dirty="0"/>
              <a:t>) = A + B(X(t), X(t+1), … X(t+p-1))</a:t>
            </a:r>
          </a:p>
          <a:p>
            <a:pPr algn="l"/>
            <a:endParaRPr lang="it-IT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A cost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B lineare</a:t>
            </a:r>
            <a:endParaRPr lang="en-US" dirty="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C99941D3-483B-4A15-A419-CC243B0884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0422" y="1868981"/>
            <a:ext cx="5829300" cy="353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FA229D1-2312-4138-A1E6-8D74A629964A}"/>
              </a:ext>
            </a:extLst>
          </p:cNvPr>
          <p:cNvSpPr txBox="1"/>
          <p:nvPr/>
        </p:nvSpPr>
        <p:spPr>
          <a:xfrm>
            <a:off x="6629400" y="5566591"/>
            <a:ext cx="28254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dirty="0"/>
              <a:t>RMSE = 5.73 (vs 7.38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5721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i statistici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330382"/>
            <a:ext cx="3385926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 err="1"/>
              <a:t>Moving</a:t>
            </a:r>
            <a:r>
              <a:rPr lang="it-IT" sz="2000" dirty="0"/>
              <a:t> </a:t>
            </a:r>
            <a:r>
              <a:rPr lang="it-IT" sz="2000" dirty="0" err="1"/>
              <a:t>Average</a:t>
            </a:r>
            <a:r>
              <a:rPr lang="it-IT" sz="2000" dirty="0"/>
              <a:t> model</a:t>
            </a:r>
            <a:endParaRPr lang="en-US" sz="2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4CA449-A8AE-4F8C-94DD-32C9D0A90BE6}"/>
              </a:ext>
            </a:extLst>
          </p:cNvPr>
          <p:cNvSpPr txBox="1"/>
          <p:nvPr/>
        </p:nvSpPr>
        <p:spPr>
          <a:xfrm>
            <a:off x="1085490" y="1868981"/>
            <a:ext cx="7162398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l-GR" dirty="0"/>
              <a:t>η</a:t>
            </a:r>
            <a:r>
              <a:rPr lang="it-IT" dirty="0"/>
              <a:t>(</a:t>
            </a:r>
            <a:r>
              <a:rPr lang="it-IT" dirty="0" err="1"/>
              <a:t>t+q</a:t>
            </a:r>
            <a:r>
              <a:rPr lang="it-IT" dirty="0"/>
              <a:t>) = A + B(</a:t>
            </a:r>
            <a:r>
              <a:rPr lang="en-US" dirty="0"/>
              <a:t>ɛ</a:t>
            </a:r>
            <a:r>
              <a:rPr lang="it-IT" dirty="0"/>
              <a:t>(t), </a:t>
            </a:r>
            <a:r>
              <a:rPr lang="en-US" dirty="0"/>
              <a:t>ɛ(</a:t>
            </a:r>
            <a:r>
              <a:rPr lang="it-IT" dirty="0"/>
              <a:t>t+1), … </a:t>
            </a:r>
            <a:r>
              <a:rPr lang="en-US" dirty="0"/>
              <a:t>ɛ(</a:t>
            </a:r>
            <a:r>
              <a:rPr lang="it-IT" dirty="0"/>
              <a:t>t+q-1))</a:t>
            </a:r>
          </a:p>
          <a:p>
            <a:pPr algn="l"/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ɛ(t) = X(t) – X(t-1)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A cost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B linear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A229D1-2312-4138-A1E6-8D74A629964A}"/>
              </a:ext>
            </a:extLst>
          </p:cNvPr>
          <p:cNvSpPr txBox="1"/>
          <p:nvPr/>
        </p:nvSpPr>
        <p:spPr>
          <a:xfrm>
            <a:off x="6629400" y="5566591"/>
            <a:ext cx="28254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dirty="0"/>
              <a:t>RMSE = 5.72 (vs 7.38)</a:t>
            </a:r>
            <a:endParaRPr lang="en-US" dirty="0"/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798F4732-D716-4822-A965-2274B20D0D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0422" y="1868981"/>
            <a:ext cx="5848350" cy="353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6C7950-9D68-4F87-A755-C73F032280EF}"/>
              </a:ext>
            </a:extLst>
          </p:cNvPr>
          <p:cNvSpPr txBox="1"/>
          <p:nvPr/>
        </p:nvSpPr>
        <p:spPr>
          <a:xfrm>
            <a:off x="1085490" y="3831336"/>
            <a:ext cx="372425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Si ottiene la stima Y(t+1) = </a:t>
            </a:r>
            <a:r>
              <a:rPr lang="el-GR" dirty="0"/>
              <a:t>η</a:t>
            </a:r>
            <a:r>
              <a:rPr lang="it-IT" dirty="0"/>
              <a:t>(t+1) + X(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1802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i statistici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330382"/>
            <a:ext cx="397114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ARIMA(p, d, q) model (Box-Jenkins)</a:t>
            </a:r>
            <a:endParaRPr lang="en-US" sz="2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4CA449-A8AE-4F8C-94DD-32C9D0A90BE6}"/>
              </a:ext>
            </a:extLst>
          </p:cNvPr>
          <p:cNvSpPr txBox="1"/>
          <p:nvPr/>
        </p:nvSpPr>
        <p:spPr>
          <a:xfrm>
            <a:off x="1085490" y="1868981"/>
            <a:ext cx="3809037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err="1"/>
              <a:t>Autoregressione</a:t>
            </a:r>
            <a:r>
              <a:rPr lang="it-IT" dirty="0"/>
              <a:t> di parametro 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ntegrato di parametro d (differenzio d volt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err="1"/>
              <a:t>Moving</a:t>
            </a:r>
            <a:r>
              <a:rPr lang="it-IT" dirty="0"/>
              <a:t> </a:t>
            </a:r>
            <a:r>
              <a:rPr lang="it-IT" dirty="0" err="1"/>
              <a:t>average</a:t>
            </a:r>
            <a:r>
              <a:rPr lang="it-IT" dirty="0"/>
              <a:t> di parametro q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A229D1-2312-4138-A1E6-8D74A629964A}"/>
              </a:ext>
            </a:extLst>
          </p:cNvPr>
          <p:cNvSpPr txBox="1"/>
          <p:nvPr/>
        </p:nvSpPr>
        <p:spPr>
          <a:xfrm>
            <a:off x="6629400" y="5566591"/>
            <a:ext cx="28254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dirty="0"/>
              <a:t>RMSE = 5.69 (vs 7.38)</a:t>
            </a:r>
            <a:endParaRPr lang="en-US" dirty="0"/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4BB5188C-6C55-4618-B643-8195AB864F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527" y="1868980"/>
            <a:ext cx="5829300" cy="353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9380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i statistici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330382"/>
            <a:ext cx="4126590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ARIMA(p, d, q) model (Box Jenkins)</a:t>
            </a:r>
            <a:endParaRPr lang="en-US" sz="2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4CA449-A8AE-4F8C-94DD-32C9D0A90BE6}"/>
              </a:ext>
            </a:extLst>
          </p:cNvPr>
          <p:cNvSpPr txBox="1"/>
          <p:nvPr/>
        </p:nvSpPr>
        <p:spPr>
          <a:xfrm>
            <a:off x="1085490" y="1774742"/>
            <a:ext cx="1000837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l parametro d serve per </a:t>
            </a:r>
            <a:r>
              <a:rPr lang="it-IT" dirty="0" err="1"/>
              <a:t>stazionarizzare</a:t>
            </a:r>
            <a:r>
              <a:rPr lang="it-IT" dirty="0"/>
              <a:t> la ser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 parametri p e q si possono inferire dall’analisi della ACF e della PAC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Nel pacchetto ARIMAX è possibile inserire delle variabili esoge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DF75B45-40B8-4BB0-9481-314137978B91}"/>
              </a:ext>
            </a:extLst>
          </p:cNvPr>
          <p:cNvSpPr txBox="1">
            <a:spLocks/>
          </p:cNvSpPr>
          <p:nvPr/>
        </p:nvSpPr>
        <p:spPr>
          <a:xfrm>
            <a:off x="1085490" y="2882738"/>
            <a:ext cx="4419198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SARIMA(p, d, q)(P,D,Q, m) model</a:t>
            </a:r>
            <a:endParaRPr lang="en-US" sz="2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30D052-3A1C-4DF3-B226-40B3531D1DE5}"/>
              </a:ext>
            </a:extLst>
          </p:cNvPr>
          <p:cNvSpPr txBox="1"/>
          <p:nvPr/>
        </p:nvSpPr>
        <p:spPr>
          <a:xfrm>
            <a:off x="1085490" y="3429000"/>
            <a:ext cx="9292950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È un’estensione del modello ARIMA per time </a:t>
            </a:r>
            <a:r>
              <a:rPr lang="it-IT" dirty="0" err="1"/>
              <a:t>series</a:t>
            </a:r>
            <a:r>
              <a:rPr lang="it-IT" dirty="0"/>
              <a:t> con stagionalità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p, d e q sono i parametri da applicare al </a:t>
            </a:r>
            <a:r>
              <a:rPr lang="it-IT" i="1" dirty="0"/>
              <a:t>tr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i="1" dirty="0"/>
              <a:t>P, D e Q </a:t>
            </a:r>
            <a:r>
              <a:rPr lang="it-IT" dirty="0"/>
              <a:t>sono gli analoghi parametri per la stagionalit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m è il period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1876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i statistici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330382"/>
            <a:ext cx="397114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 err="1"/>
              <a:t>Exponential</a:t>
            </a:r>
            <a:r>
              <a:rPr lang="it-IT" sz="2000" dirty="0"/>
              <a:t> </a:t>
            </a:r>
            <a:r>
              <a:rPr lang="it-IT" sz="2000" dirty="0" err="1"/>
              <a:t>Smoothing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A229D1-2312-4138-A1E6-8D74A629964A}"/>
              </a:ext>
            </a:extLst>
          </p:cNvPr>
          <p:cNvSpPr txBox="1"/>
          <p:nvPr/>
        </p:nvSpPr>
        <p:spPr>
          <a:xfrm>
            <a:off x="6629400" y="5566591"/>
            <a:ext cx="28254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dirty="0"/>
              <a:t>RMSE = 5.67 (vs 7.38)</a:t>
            </a:r>
            <a:endParaRPr lang="en-US" dirty="0"/>
          </a:p>
        </p:txBody>
      </p:sp>
      <p:pic>
        <p:nvPicPr>
          <p:cNvPr id="10244" name="Picture 4">
            <a:extLst>
              <a:ext uri="{FF2B5EF4-FFF2-40B4-BE49-F238E27FC236}">
                <a16:creationId xmlns:a16="http://schemas.microsoft.com/office/drawing/2014/main" id="{51C39488-151A-481A-BE59-093445B00A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527" y="1868981"/>
            <a:ext cx="5829300" cy="353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3F90857-0E69-4A1D-9928-2509AEC365C6}"/>
              </a:ext>
            </a:extLst>
          </p:cNvPr>
          <p:cNvSpPr txBox="1"/>
          <p:nvPr/>
        </p:nvSpPr>
        <p:spPr>
          <a:xfrm>
            <a:off x="1085490" y="1868981"/>
            <a:ext cx="4071726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s(0) = X(0)</a:t>
            </a:r>
          </a:p>
          <a:p>
            <a:r>
              <a:rPr lang="it-IT" dirty="0"/>
              <a:t>s(t+1) = </a:t>
            </a:r>
            <a:r>
              <a:rPr lang="el-GR" dirty="0"/>
              <a:t>α</a:t>
            </a:r>
            <a:r>
              <a:rPr lang="it-IT" dirty="0"/>
              <a:t> X(t) + (1- </a:t>
            </a:r>
            <a:r>
              <a:rPr lang="el-GR" dirty="0"/>
              <a:t>α</a:t>
            </a:r>
            <a:r>
              <a:rPr lang="it-IT" dirty="0"/>
              <a:t>) s(t) = </a:t>
            </a:r>
            <a:r>
              <a:rPr lang="el-GR" dirty="0"/>
              <a:t>α</a:t>
            </a:r>
            <a:r>
              <a:rPr lang="it-IT" dirty="0"/>
              <a:t> X(t) + (1- </a:t>
            </a:r>
            <a:r>
              <a:rPr lang="el-GR" dirty="0"/>
              <a:t>α</a:t>
            </a:r>
            <a:r>
              <a:rPr lang="it-IT" dirty="0"/>
              <a:t>) X(t-1) + (1- </a:t>
            </a:r>
            <a:r>
              <a:rPr lang="el-GR" dirty="0"/>
              <a:t>α</a:t>
            </a:r>
            <a:r>
              <a:rPr lang="it-IT" dirty="0"/>
              <a:t>) (1-</a:t>
            </a:r>
            <a:r>
              <a:rPr lang="el-GR" dirty="0"/>
              <a:t> α</a:t>
            </a:r>
            <a:r>
              <a:rPr lang="it-IT" dirty="0"/>
              <a:t>) s(t-1) = …</a:t>
            </a:r>
          </a:p>
          <a:p>
            <a:pPr algn="l"/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È una variante non lineare di MA per serie stazionar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dirty="0"/>
              <a:t>α</a:t>
            </a:r>
            <a:r>
              <a:rPr lang="it-IT" dirty="0"/>
              <a:t> è lo </a:t>
            </a:r>
            <a:r>
              <a:rPr lang="it-IT" i="1" dirty="0" err="1"/>
              <a:t>smoothing</a:t>
            </a:r>
            <a:r>
              <a:rPr lang="it-IT" i="1" dirty="0"/>
              <a:t> </a:t>
            </a:r>
            <a:r>
              <a:rPr lang="it-IT" i="1" dirty="0" err="1"/>
              <a:t>factor</a:t>
            </a:r>
            <a:r>
              <a:rPr lang="it-IT" i="1" dirty="0"/>
              <a:t>, 0</a:t>
            </a:r>
            <a:r>
              <a:rPr lang="en-US" dirty="0"/>
              <a:t> ≤</a:t>
            </a:r>
            <a:r>
              <a:rPr lang="el-GR" dirty="0"/>
              <a:t> α</a:t>
            </a:r>
            <a:r>
              <a:rPr lang="en-US" dirty="0"/>
              <a:t> ≤ </a:t>
            </a:r>
            <a:r>
              <a:rPr lang="it-IT" dirty="0"/>
              <a:t>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Esistono varianti che includono una stima del trend (</a:t>
            </a:r>
            <a:r>
              <a:rPr lang="it-IT" i="1" dirty="0"/>
              <a:t>Double </a:t>
            </a:r>
            <a:r>
              <a:rPr lang="it-IT" i="1" dirty="0" err="1"/>
              <a:t>Exponential</a:t>
            </a:r>
            <a:r>
              <a:rPr lang="it-IT" i="1" dirty="0"/>
              <a:t> </a:t>
            </a:r>
            <a:r>
              <a:rPr lang="it-IT" i="1" dirty="0" err="1"/>
              <a:t>Smoothing</a:t>
            </a:r>
            <a:r>
              <a:rPr lang="it-IT" dirty="0"/>
              <a:t>) e della stagionalità (</a:t>
            </a:r>
            <a:r>
              <a:rPr lang="it-IT" i="1" dirty="0"/>
              <a:t>Triple </a:t>
            </a:r>
            <a:r>
              <a:rPr lang="it-IT" i="1" dirty="0" err="1"/>
              <a:t>Exponential</a:t>
            </a:r>
            <a:r>
              <a:rPr lang="it-IT" i="1" dirty="0"/>
              <a:t> </a:t>
            </a:r>
            <a:r>
              <a:rPr lang="it-IT" i="1" dirty="0" err="1"/>
              <a:t>Smoothing</a:t>
            </a:r>
            <a:r>
              <a:rPr lang="it-IT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7477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i a reti neurali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30D052-3A1C-4DF3-B226-40B3531D1DE5}"/>
              </a:ext>
            </a:extLst>
          </p:cNvPr>
          <p:cNvSpPr txBox="1"/>
          <p:nvPr/>
        </p:nvSpPr>
        <p:spPr>
          <a:xfrm>
            <a:off x="1085490" y="1298449"/>
            <a:ext cx="9558126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I modelli statistici presentano dei limiti teoric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Dipendenza line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ntegrità dei da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Rigidità dei parametri inizial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Stazionarietà della time </a:t>
            </a:r>
            <a:r>
              <a:rPr lang="it-IT" dirty="0" err="1"/>
              <a:t>series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Focalizzati su time </a:t>
            </a:r>
            <a:r>
              <a:rPr lang="it-IT" dirty="0" err="1"/>
              <a:t>series</a:t>
            </a:r>
            <a:r>
              <a:rPr lang="it-IT" dirty="0"/>
              <a:t> </a:t>
            </a:r>
            <a:r>
              <a:rPr lang="it-IT" dirty="0" err="1"/>
              <a:t>univariate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4CA752-92B1-48D2-B47A-9AB3A2B4564B}"/>
              </a:ext>
            </a:extLst>
          </p:cNvPr>
          <p:cNvSpPr txBox="1"/>
          <p:nvPr/>
        </p:nvSpPr>
        <p:spPr>
          <a:xfrm>
            <a:off x="1085490" y="4157298"/>
            <a:ext cx="955812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b="1" dirty="0"/>
              <a:t>I modelli a reti neurali offrono una soluzione più efficiente (forse).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B350C10D-515B-4F72-925B-261E6D5CF06D}"/>
              </a:ext>
            </a:extLst>
          </p:cNvPr>
          <p:cNvSpPr/>
          <p:nvPr/>
        </p:nvSpPr>
        <p:spPr>
          <a:xfrm>
            <a:off x="4680405" y="3329395"/>
            <a:ext cx="2368296" cy="36797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2938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i a reti neurali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30D052-3A1C-4DF3-B226-40B3531D1DE5}"/>
              </a:ext>
            </a:extLst>
          </p:cNvPr>
          <p:cNvSpPr txBox="1"/>
          <p:nvPr/>
        </p:nvSpPr>
        <p:spPr>
          <a:xfrm>
            <a:off x="1085490" y="1746505"/>
            <a:ext cx="986902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È il modello a reti neurali base. Consiste in un unico </a:t>
            </a:r>
            <a:r>
              <a:rPr lang="it-IT" dirty="0" err="1"/>
              <a:t>hidden</a:t>
            </a:r>
            <a:r>
              <a:rPr lang="it-IT" dirty="0"/>
              <a:t> </a:t>
            </a:r>
            <a:r>
              <a:rPr lang="it-IT" dirty="0" err="1"/>
              <a:t>layer</a:t>
            </a:r>
            <a:r>
              <a:rPr lang="it-IT" dirty="0"/>
              <a:t> di neuroni a cui viene applicato lo SDE (</a:t>
            </a:r>
            <a:r>
              <a:rPr lang="it-IT" dirty="0" err="1"/>
              <a:t>stochastic</a:t>
            </a:r>
            <a:r>
              <a:rPr lang="it-IT" dirty="0"/>
              <a:t> </a:t>
            </a:r>
            <a:r>
              <a:rPr lang="it-IT" dirty="0" err="1"/>
              <a:t>gradient</a:t>
            </a:r>
            <a:r>
              <a:rPr lang="it-IT" dirty="0"/>
              <a:t> </a:t>
            </a:r>
            <a:r>
              <a:rPr lang="it-IT" dirty="0" err="1"/>
              <a:t>descent</a:t>
            </a:r>
            <a:r>
              <a:rPr lang="it-IT" dirty="0"/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5B9F95-1025-4FA1-A013-F04533AB158B}"/>
              </a:ext>
            </a:extLst>
          </p:cNvPr>
          <p:cNvSpPr txBox="1">
            <a:spLocks/>
          </p:cNvSpPr>
          <p:nvPr/>
        </p:nvSpPr>
        <p:spPr>
          <a:xfrm>
            <a:off x="1085490" y="1330382"/>
            <a:ext cx="397114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 err="1"/>
              <a:t>Multilayer</a:t>
            </a:r>
            <a:r>
              <a:rPr lang="it-IT" sz="2000" dirty="0"/>
              <a:t> </a:t>
            </a:r>
            <a:r>
              <a:rPr lang="it-IT" sz="2000" dirty="0" err="1"/>
              <a:t>Perceptron</a:t>
            </a:r>
            <a:r>
              <a:rPr lang="it-IT" sz="2000" dirty="0"/>
              <a:t> (MLP)</a:t>
            </a:r>
            <a:endParaRPr lang="en-US" sz="2000" dirty="0"/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0B509D09-EBA6-4219-AEAE-E692E6EAD6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6871" y="2716626"/>
            <a:ext cx="3987546" cy="236826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5F434A0-5DB0-4B12-85EA-D64E8EFB993A}"/>
              </a:ext>
            </a:extLst>
          </p:cNvPr>
          <p:cNvSpPr txBox="1"/>
          <p:nvPr/>
        </p:nvSpPr>
        <p:spPr>
          <a:xfrm>
            <a:off x="6385561" y="2579909"/>
            <a:ext cx="4568951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Gli input corrispondono a finestre temporali di lunghezza h: x(t), x(t+1), .., x(t+h-1) usate per </a:t>
            </a:r>
            <a:r>
              <a:rPr lang="it-IT" dirty="0" err="1"/>
              <a:t>predirre</a:t>
            </a:r>
            <a:r>
              <a:rPr lang="it-IT" dirty="0"/>
              <a:t> l’output x(</a:t>
            </a:r>
            <a:r>
              <a:rPr lang="it-IT" dirty="0" err="1"/>
              <a:t>t+h</a:t>
            </a:r>
            <a:r>
              <a:rPr lang="it-IT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a funzione di attivazione di ogni neurone è la </a:t>
            </a:r>
            <a:r>
              <a:rPr lang="it-IT" dirty="0" err="1"/>
              <a:t>relu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a </a:t>
            </a:r>
            <a:r>
              <a:rPr lang="it-IT" dirty="0" err="1"/>
              <a:t>loss</a:t>
            </a:r>
            <a:r>
              <a:rPr lang="it-IT" dirty="0"/>
              <a:t> </a:t>
            </a:r>
            <a:r>
              <a:rPr lang="it-IT" dirty="0" err="1"/>
              <a:t>function</a:t>
            </a:r>
            <a:r>
              <a:rPr lang="it-IT" dirty="0"/>
              <a:t> è la distanza dall’errore (MSE)</a:t>
            </a:r>
          </a:p>
        </p:txBody>
      </p:sp>
    </p:spTree>
    <p:extLst>
      <p:ext uri="{BB962C8B-B14F-4D97-AF65-F5344CB8AC3E}">
        <p14:creationId xmlns:p14="http://schemas.microsoft.com/office/powerpoint/2010/main" val="2192023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Time Serie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47A9D5-7CE3-43DB-A2EF-D33F6A4CED48}"/>
              </a:ext>
            </a:extLst>
          </p:cNvPr>
          <p:cNvSpPr txBox="1"/>
          <p:nvPr/>
        </p:nvSpPr>
        <p:spPr>
          <a:xfrm>
            <a:off x="1085490" y="1204394"/>
            <a:ext cx="3961998" cy="3246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it-IT" dirty="0"/>
              <a:t>Definizione, esempi</a:t>
            </a: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it-IT" dirty="0"/>
              <a:t>Proprietà, altre definizioni</a:t>
            </a: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it-IT" dirty="0"/>
              <a:t>Modelli statistici di forecast</a:t>
            </a: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it-IT" dirty="0"/>
              <a:t>Modelli di forecast a deep learning </a:t>
            </a: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endParaRPr lang="it-IT" dirty="0"/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9307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i a reti neurali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30D052-3A1C-4DF3-B226-40B3531D1DE5}"/>
              </a:ext>
            </a:extLst>
          </p:cNvPr>
          <p:cNvSpPr txBox="1"/>
          <p:nvPr/>
        </p:nvSpPr>
        <p:spPr>
          <a:xfrm>
            <a:off x="1085490" y="1746505"/>
            <a:ext cx="3852270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Possibili ottimizzazion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earning ra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Mini batc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err="1"/>
              <a:t>Hidden</a:t>
            </a:r>
            <a:r>
              <a:rPr lang="it-IT" dirty="0"/>
              <a:t> </a:t>
            </a:r>
            <a:r>
              <a:rPr lang="it-IT" dirty="0" err="1"/>
              <a:t>layer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Numero neuroni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5B9F95-1025-4FA1-A013-F04533AB158B}"/>
              </a:ext>
            </a:extLst>
          </p:cNvPr>
          <p:cNvSpPr txBox="1">
            <a:spLocks/>
          </p:cNvSpPr>
          <p:nvPr/>
        </p:nvSpPr>
        <p:spPr>
          <a:xfrm>
            <a:off x="1085490" y="1330382"/>
            <a:ext cx="397114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 err="1"/>
              <a:t>Multilayer</a:t>
            </a:r>
            <a:r>
              <a:rPr lang="it-IT" sz="2000" dirty="0"/>
              <a:t> </a:t>
            </a:r>
            <a:r>
              <a:rPr lang="it-IT" sz="2000" dirty="0" err="1"/>
              <a:t>Perceptron</a:t>
            </a:r>
            <a:r>
              <a:rPr lang="it-IT" sz="2000" dirty="0"/>
              <a:t> (MLP)</a:t>
            </a:r>
            <a:endParaRPr lang="en-US" sz="2000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0D59303A-F54E-4D95-B649-EE1D7607A3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7760" y="1746505"/>
            <a:ext cx="5829300" cy="353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4D678E9-C310-4DF9-952E-C994261D074B}"/>
              </a:ext>
            </a:extLst>
          </p:cNvPr>
          <p:cNvSpPr txBox="1"/>
          <p:nvPr/>
        </p:nvSpPr>
        <p:spPr>
          <a:xfrm>
            <a:off x="6537960" y="5428091"/>
            <a:ext cx="332841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dirty="0"/>
              <a:t>RMSE = 5.99 (dopo 100 epoch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0286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i a reti neurali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5B9F95-1025-4FA1-A013-F04533AB158B}"/>
              </a:ext>
            </a:extLst>
          </p:cNvPr>
          <p:cNvSpPr txBox="1">
            <a:spLocks/>
          </p:cNvSpPr>
          <p:nvPr/>
        </p:nvSpPr>
        <p:spPr>
          <a:xfrm>
            <a:off x="1085490" y="1215100"/>
            <a:ext cx="397114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Ne vale la pena?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E0EFC8-E636-4746-B361-D06A90671132}"/>
              </a:ext>
            </a:extLst>
          </p:cNvPr>
          <p:cNvSpPr txBox="1"/>
          <p:nvPr/>
        </p:nvSpPr>
        <p:spPr>
          <a:xfrm>
            <a:off x="1085489" y="1638418"/>
            <a:ext cx="3058837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In</a:t>
            </a:r>
            <a:r>
              <a:rPr lang="en-US" i="1" dirty="0"/>
              <a:t> Statistical and Machine Learning forecasting methods: Concerns and ways forward, (</a:t>
            </a:r>
            <a:r>
              <a:rPr lang="en-US" dirty="0" err="1"/>
              <a:t>Makridakis</a:t>
            </a:r>
            <a:r>
              <a:rPr lang="en-US" i="1" dirty="0"/>
              <a:t>, 2018) </a:t>
            </a:r>
            <a:r>
              <a:rPr lang="en-US" dirty="0" err="1"/>
              <a:t>vengono</a:t>
            </a:r>
            <a:r>
              <a:rPr lang="en-US" dirty="0"/>
              <a:t> </a:t>
            </a:r>
            <a:r>
              <a:rPr lang="en-US" dirty="0" err="1"/>
              <a:t>confrontate</a:t>
            </a:r>
            <a:r>
              <a:rPr lang="en-US" dirty="0"/>
              <a:t> </a:t>
            </a:r>
            <a:r>
              <a:rPr lang="en-US" dirty="0" err="1"/>
              <a:t>oltre</a:t>
            </a:r>
            <a:r>
              <a:rPr lang="en-US" dirty="0"/>
              <a:t> 3000 time series </a:t>
            </a:r>
            <a:r>
              <a:rPr lang="en-US" dirty="0" err="1"/>
              <a:t>utilizzando</a:t>
            </a:r>
            <a:r>
              <a:rPr lang="en-US" dirty="0"/>
              <a:t> 18 </a:t>
            </a:r>
            <a:r>
              <a:rPr lang="en-US" dirty="0" err="1"/>
              <a:t>metodi</a:t>
            </a:r>
            <a:r>
              <a:rPr lang="en-US" dirty="0"/>
              <a:t> (8 </a:t>
            </a:r>
            <a:r>
              <a:rPr lang="en-US" dirty="0" err="1"/>
              <a:t>statistici</a:t>
            </a:r>
            <a:r>
              <a:rPr lang="en-US" dirty="0"/>
              <a:t> + 10 deep learning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8EDEC6-78F1-4D77-BF7E-FABED49BC8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4327" y="1638416"/>
            <a:ext cx="7197482" cy="345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7378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i a reti neurali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5B9F95-1025-4FA1-A013-F04533AB158B}"/>
              </a:ext>
            </a:extLst>
          </p:cNvPr>
          <p:cNvSpPr txBox="1">
            <a:spLocks/>
          </p:cNvSpPr>
          <p:nvPr/>
        </p:nvSpPr>
        <p:spPr>
          <a:xfrm>
            <a:off x="1085490" y="1215100"/>
            <a:ext cx="397114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Ne vale la pena?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E0EFC8-E636-4746-B361-D06A90671132}"/>
              </a:ext>
            </a:extLst>
          </p:cNvPr>
          <p:cNvSpPr txBox="1"/>
          <p:nvPr/>
        </p:nvSpPr>
        <p:spPr>
          <a:xfrm>
            <a:off x="1085489" y="1638418"/>
            <a:ext cx="3058838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Vincono nettamente i metodi statistici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Risultati simili sia su forecast a one step che a multi step</a:t>
            </a: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 err="1"/>
              <a:t>Tutte</a:t>
            </a:r>
            <a:r>
              <a:rPr lang="en-US" dirty="0"/>
              <a:t> le </a:t>
            </a:r>
            <a:r>
              <a:rPr lang="en-US" dirty="0" err="1"/>
              <a:t>serie</a:t>
            </a:r>
            <a:r>
              <a:rPr lang="en-US" dirty="0"/>
              <a:t> </a:t>
            </a:r>
            <a:r>
              <a:rPr lang="en-US" dirty="0" err="1"/>
              <a:t>analizzate</a:t>
            </a:r>
            <a:r>
              <a:rPr lang="en-US" dirty="0"/>
              <a:t> </a:t>
            </a:r>
            <a:r>
              <a:rPr lang="en-US" dirty="0" err="1"/>
              <a:t>sono</a:t>
            </a:r>
            <a:r>
              <a:rPr lang="en-US" dirty="0"/>
              <a:t> univariat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Per </a:t>
            </a:r>
            <a:r>
              <a:rPr lang="en-US" dirty="0" err="1"/>
              <a:t>specifiche</a:t>
            </a:r>
            <a:r>
              <a:rPr lang="en-US" dirty="0"/>
              <a:t> time series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odelli</a:t>
            </a:r>
            <a:r>
              <a:rPr lang="en-US" dirty="0"/>
              <a:t> deep learning </a:t>
            </a:r>
            <a:r>
              <a:rPr lang="en-US" dirty="0" err="1"/>
              <a:t>sono</a:t>
            </a:r>
            <a:r>
              <a:rPr lang="en-US" dirty="0"/>
              <a:t> </a:t>
            </a:r>
            <a:r>
              <a:rPr lang="en-US" dirty="0" err="1"/>
              <a:t>vincenti</a:t>
            </a:r>
            <a:endParaRPr lang="it-IT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8EDEC6-78F1-4D77-BF7E-FABED49BC8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4327" y="1649200"/>
            <a:ext cx="7197482" cy="345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0085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47796-90A1-41E7-BC1B-D8CF67138D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Referenz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83C167-C64E-4B95-B4A6-75DC301AE85D}"/>
              </a:ext>
            </a:extLst>
          </p:cNvPr>
          <p:cNvSpPr txBox="1"/>
          <p:nvPr/>
        </p:nvSpPr>
        <p:spPr>
          <a:xfrm>
            <a:off x="1085490" y="1271016"/>
            <a:ext cx="10353654" cy="3600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Libri: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it-IT" dirty="0" err="1"/>
              <a:t>Introduction</a:t>
            </a:r>
            <a:r>
              <a:rPr lang="it-IT" dirty="0"/>
              <a:t> to Time Series Forecasting with Python (J. </a:t>
            </a:r>
            <a:r>
              <a:rPr lang="it-IT" dirty="0" err="1"/>
              <a:t>Brownlee</a:t>
            </a:r>
            <a:r>
              <a:rPr lang="it-IT" dirty="0"/>
              <a:t>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it-IT" dirty="0"/>
              <a:t>Deep Learning for Time Series Forecasting (J. </a:t>
            </a:r>
            <a:r>
              <a:rPr lang="it-IT" dirty="0" err="1"/>
              <a:t>Brownlee</a:t>
            </a:r>
            <a:r>
              <a:rPr lang="it-IT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>
              <a:lnSpc>
                <a:spcPct val="200000"/>
              </a:lnSpc>
            </a:pPr>
            <a:r>
              <a:rPr lang="it-IT" dirty="0"/>
              <a:t>Corsi: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Introduction to TensorFlow for Artificial Intelligence, Machine Learning, and Deep Learning (L. Moroney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it-IT" dirty="0" err="1"/>
              <a:t>Sequences</a:t>
            </a:r>
            <a:r>
              <a:rPr lang="it-IT" dirty="0"/>
              <a:t>, Time Series and </a:t>
            </a:r>
            <a:r>
              <a:rPr lang="it-IT" dirty="0" err="1"/>
              <a:t>Prediction</a:t>
            </a:r>
            <a:r>
              <a:rPr lang="it-IT" dirty="0"/>
              <a:t> (L. </a:t>
            </a:r>
            <a:r>
              <a:rPr lang="it-IT" dirty="0" err="1"/>
              <a:t>Moroney</a:t>
            </a:r>
            <a:r>
              <a:rPr lang="it-IT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0149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1741" y="1769120"/>
            <a:ext cx="10408518" cy="387798"/>
          </a:xfrm>
        </p:spPr>
        <p:txBody>
          <a:bodyPr/>
          <a:lstStyle/>
          <a:p>
            <a:pPr algn="ctr"/>
            <a:r>
              <a:rPr lang="it-IT" dirty="0"/>
              <a:t>Grazie per l’attenzione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9383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Time Series</a:t>
            </a:r>
            <a:endParaRPr lang="en-US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4B76DE0F-F377-4B2A-9523-A70CA60B81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490" y="1891843"/>
            <a:ext cx="6310122" cy="3825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947A9D5-7CE3-43DB-A2EF-D33F6A4CED48}"/>
              </a:ext>
            </a:extLst>
          </p:cNvPr>
          <p:cNvSpPr txBox="1"/>
          <p:nvPr/>
        </p:nvSpPr>
        <p:spPr>
          <a:xfrm>
            <a:off x="1085490" y="1204394"/>
            <a:ext cx="78546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Una time </a:t>
            </a:r>
            <a:r>
              <a:rPr lang="it-IT" dirty="0" err="1"/>
              <a:t>series</a:t>
            </a:r>
            <a:r>
              <a:rPr lang="it-IT" dirty="0"/>
              <a:t> è una funzione X: [t, t’] </a:t>
            </a:r>
            <a:r>
              <a:rPr lang="it-IT" dirty="0">
                <a:sym typeface="Wingdings" panose="05000000000000000000" pitchFamily="2" charset="2"/>
              </a:rPr>
              <a:t> </a:t>
            </a:r>
            <a:r>
              <a:rPr lang="en-US" dirty="0" err="1"/>
              <a:t>ℝ</a:t>
            </a:r>
            <a:r>
              <a:rPr lang="en-US" i="1" baseline="30000" dirty="0" err="1"/>
              <a:t>n</a:t>
            </a:r>
            <a:r>
              <a:rPr lang="it-IT" dirty="0">
                <a:sym typeface="Wingdings" panose="05000000000000000000" pitchFamily="2" charset="2"/>
              </a:rPr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2744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Esempi di Time Serie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47A9D5-7CE3-43DB-A2EF-D33F6A4CED48}"/>
              </a:ext>
            </a:extLst>
          </p:cNvPr>
          <p:cNvSpPr txBox="1"/>
          <p:nvPr/>
        </p:nvSpPr>
        <p:spPr>
          <a:xfrm>
            <a:off x="1085490" y="1378130"/>
            <a:ext cx="3358494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Funzione linea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Funzione regola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Funzione stocastica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Multivariat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7169" name="Picture 1">
            <a:extLst>
              <a:ext uri="{FF2B5EF4-FFF2-40B4-BE49-F238E27FC236}">
                <a16:creationId xmlns:a16="http://schemas.microsoft.com/office/drawing/2014/main" id="{4F456142-7B47-416B-B5FC-9F9D63E363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344" y="1149071"/>
            <a:ext cx="2907792" cy="1780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D211E4B0-CA4B-4EA6-B403-E4427A6B02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136" y="1149070"/>
            <a:ext cx="3004307" cy="1783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>
            <a:extLst>
              <a:ext uri="{FF2B5EF4-FFF2-40B4-BE49-F238E27FC236}">
                <a16:creationId xmlns:a16="http://schemas.microsoft.com/office/drawing/2014/main" id="{11148156-31C0-4B08-8319-83B18E7EF4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344" y="2929254"/>
            <a:ext cx="2907792" cy="1780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>
            <a:extLst>
              <a:ext uri="{FF2B5EF4-FFF2-40B4-BE49-F238E27FC236}">
                <a16:creationId xmlns:a16="http://schemas.microsoft.com/office/drawing/2014/main" id="{F321B57E-6CAF-4C8E-9D00-D0F3D018BC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136" y="2932428"/>
            <a:ext cx="3003196" cy="1777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13586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Proprietà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140902"/>
            <a:ext cx="3385926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Trend</a:t>
            </a:r>
            <a:endParaRPr lang="en-US" sz="2000" dirty="0"/>
          </a:p>
        </p:txBody>
      </p:sp>
      <p:pic>
        <p:nvPicPr>
          <p:cNvPr id="6150" name="Picture 6">
            <a:extLst>
              <a:ext uri="{FF2B5EF4-FFF2-40B4-BE49-F238E27FC236}">
                <a16:creationId xmlns:a16="http://schemas.microsoft.com/office/drawing/2014/main" id="{63EAA365-117F-4088-91B9-AF37BF011A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490" y="1662112"/>
            <a:ext cx="5905500" cy="353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74980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Proprietà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140902"/>
            <a:ext cx="3385926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Stagionalità</a:t>
            </a:r>
            <a:endParaRPr lang="en-US" sz="2000" dirty="0"/>
          </a:p>
        </p:txBody>
      </p:sp>
      <p:pic>
        <p:nvPicPr>
          <p:cNvPr id="8200" name="Picture 8">
            <a:extLst>
              <a:ext uri="{FF2B5EF4-FFF2-40B4-BE49-F238E27FC236}">
                <a16:creationId xmlns:a16="http://schemas.microsoft.com/office/drawing/2014/main" id="{78BBD397-8FB6-4E09-8E20-784BA6AB92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490" y="1662112"/>
            <a:ext cx="5905500" cy="353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65120E1-0F13-4E31-A132-80CD73BE0E22}"/>
              </a:ext>
            </a:extLst>
          </p:cNvPr>
          <p:cNvSpPr txBox="1"/>
          <p:nvPr/>
        </p:nvSpPr>
        <p:spPr>
          <a:xfrm>
            <a:off x="7936992" y="1417900"/>
            <a:ext cx="3136392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La stagionalità è la componente periodica delle time </a:t>
            </a:r>
            <a:r>
              <a:rPr lang="it-IT" dirty="0" err="1"/>
              <a:t>series</a:t>
            </a:r>
            <a:endParaRPr lang="it-IT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Periodicità tipiche sono giornaliere, settimanali, annuali etc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È possibile avere delle periodicità sovrappost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9318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Esempio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140902"/>
            <a:ext cx="3385926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Traffico Brand </a:t>
            </a:r>
            <a:r>
              <a:rPr lang="it-IT" sz="2000" dirty="0" err="1"/>
              <a:t>brumbrum</a:t>
            </a:r>
            <a:endParaRPr lang="en-US" sz="2000" dirty="0"/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C1C16562-68D5-4535-ABDA-FEC2A8646F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490" y="2132902"/>
            <a:ext cx="8585214" cy="3028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1356FAC-82D1-41EC-A22F-B89708EEF58B}"/>
              </a:ext>
            </a:extLst>
          </p:cNvPr>
          <p:cNvSpPr txBox="1"/>
          <p:nvPr/>
        </p:nvSpPr>
        <p:spPr>
          <a:xfrm>
            <a:off x="1085490" y="1490021"/>
            <a:ext cx="601939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dirty="0"/>
              <a:t>La time </a:t>
            </a:r>
            <a:r>
              <a:rPr lang="it-IT" dirty="0" err="1"/>
              <a:t>series</a:t>
            </a:r>
            <a:r>
              <a:rPr lang="it-IT" dirty="0"/>
              <a:t> del traffico brand è tipicamente a stagionalità giornaliera e settimanale e trend crescente.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87A22F-D2B8-4E6D-A093-87646947B0D2}"/>
              </a:ext>
            </a:extLst>
          </p:cNvPr>
          <p:cNvSpPr txBox="1"/>
          <p:nvPr/>
        </p:nvSpPr>
        <p:spPr>
          <a:xfrm>
            <a:off x="1289304" y="5522976"/>
            <a:ext cx="7626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Questa serie è decomponibile additivamente in F(t, </a:t>
            </a:r>
            <a:r>
              <a:rPr lang="el-GR" dirty="0"/>
              <a:t>ω</a:t>
            </a:r>
            <a:r>
              <a:rPr lang="it-IT" dirty="0"/>
              <a:t>) = T(t) + S(t) + B(t, </a:t>
            </a:r>
            <a:r>
              <a:rPr lang="el-GR" dirty="0"/>
              <a:t>ω</a:t>
            </a:r>
            <a:r>
              <a:rPr lang="it-IT" dirty="0"/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7168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Proprietà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140902"/>
            <a:ext cx="3385926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Stazionarietà</a:t>
            </a:r>
            <a:endParaRPr lang="en-US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7969B1-C891-47AB-98F2-12459B7A0C6A}"/>
              </a:ext>
            </a:extLst>
          </p:cNvPr>
          <p:cNvSpPr txBox="1"/>
          <p:nvPr/>
        </p:nvSpPr>
        <p:spPr>
          <a:xfrm>
            <a:off x="1085490" y="1613478"/>
            <a:ext cx="580227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Una serie è </a:t>
            </a:r>
            <a:r>
              <a:rPr lang="it-IT" i="1" dirty="0"/>
              <a:t>stazionaria</a:t>
            </a:r>
            <a:r>
              <a:rPr lang="it-IT" dirty="0"/>
              <a:t> se la legge di probabilità non dipende dal tempo. X(t, </a:t>
            </a:r>
            <a:r>
              <a:rPr lang="el-GR" dirty="0"/>
              <a:t>ω</a:t>
            </a:r>
            <a:r>
              <a:rPr lang="it-IT" dirty="0"/>
              <a:t>) = X(</a:t>
            </a:r>
            <a:r>
              <a:rPr lang="el-GR" dirty="0"/>
              <a:t>ω</a:t>
            </a:r>
            <a:r>
              <a:rPr lang="it-IT" dirty="0"/>
              <a:t>)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9A4943-2029-412B-BA6B-5E1F3F940AF6}"/>
              </a:ext>
            </a:extLst>
          </p:cNvPr>
          <p:cNvSpPr txBox="1"/>
          <p:nvPr/>
        </p:nvSpPr>
        <p:spPr>
          <a:xfrm>
            <a:off x="1085490" y="2912917"/>
            <a:ext cx="4279392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Se una serie ha trend o stagionalità non banali, allora non è stazionaria (non è vero il viceversa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dirty="0"/>
              <a:t>Se una serie è stazionaria, allora ha media e varianza costante</a:t>
            </a:r>
          </a:p>
          <a:p>
            <a:pPr algn="l"/>
            <a:endParaRPr lang="it-IT" dirty="0"/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2842F07F-85B8-4950-A321-8CFAF1520F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2675408"/>
            <a:ext cx="4050792" cy="2471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72239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8C7F0-47D3-4E88-8FAF-126D77625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Proprietà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B3AAD5-72E9-49EB-9AFB-C460F19B49CD}"/>
              </a:ext>
            </a:extLst>
          </p:cNvPr>
          <p:cNvSpPr txBox="1">
            <a:spLocks/>
          </p:cNvSpPr>
          <p:nvPr/>
        </p:nvSpPr>
        <p:spPr>
          <a:xfrm>
            <a:off x="1085490" y="1140902"/>
            <a:ext cx="3385926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6D7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2000" dirty="0"/>
              <a:t>Stazionarietà - esempi</a:t>
            </a:r>
            <a:endParaRPr lang="en-US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7969B1-C891-47AB-98F2-12459B7A0C6A}"/>
              </a:ext>
            </a:extLst>
          </p:cNvPr>
          <p:cNvSpPr txBox="1"/>
          <p:nvPr/>
        </p:nvSpPr>
        <p:spPr>
          <a:xfrm>
            <a:off x="1694286" y="1720221"/>
            <a:ext cx="28803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Time </a:t>
            </a:r>
            <a:r>
              <a:rPr lang="it-IT" dirty="0" err="1"/>
              <a:t>series</a:t>
            </a:r>
            <a:r>
              <a:rPr lang="it-IT" dirty="0"/>
              <a:t> stazionarie:</a:t>
            </a:r>
            <a:endParaRPr lang="en-US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4A7036BF-8EEC-4FF9-9697-FB606BEBC9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761" y="2346339"/>
            <a:ext cx="3027807" cy="1829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DA65C423-4251-4338-987B-3D617FF4D1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1419" y="4175844"/>
            <a:ext cx="3003149" cy="1829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>
            <a:extLst>
              <a:ext uri="{FF2B5EF4-FFF2-40B4-BE49-F238E27FC236}">
                <a16:creationId xmlns:a16="http://schemas.microsoft.com/office/drawing/2014/main" id="{224B50D0-800D-4AFE-A69A-B84CD6F8C7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7099" y="2346339"/>
            <a:ext cx="3086981" cy="1829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>
            <a:extLst>
              <a:ext uri="{FF2B5EF4-FFF2-40B4-BE49-F238E27FC236}">
                <a16:creationId xmlns:a16="http://schemas.microsoft.com/office/drawing/2014/main" id="{F5D29BA5-4221-4E33-A4D2-3B78D503D0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2507" y="4193916"/>
            <a:ext cx="3011573" cy="1829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C9A7036-26D0-4C60-BF13-67487B17F1E6}"/>
              </a:ext>
            </a:extLst>
          </p:cNvPr>
          <p:cNvSpPr txBox="1"/>
          <p:nvPr/>
        </p:nvSpPr>
        <p:spPr>
          <a:xfrm>
            <a:off x="6582507" y="1720220"/>
            <a:ext cx="28803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dirty="0"/>
              <a:t>Time </a:t>
            </a:r>
            <a:r>
              <a:rPr lang="it-IT" dirty="0" err="1"/>
              <a:t>series</a:t>
            </a:r>
            <a:r>
              <a:rPr lang="it-IT" dirty="0"/>
              <a:t> non stazionari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4436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3JOF.SSBCZWiuiGlog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iCVqBoSh6hM0FBbiX1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3lIUvzTbGaBjThz4eVKA"/>
</p:tagLst>
</file>

<file path=ppt/theme/theme1.xml><?xml version="1.0" encoding="utf-8"?>
<a:theme xmlns:a="http://schemas.openxmlformats.org/drawingml/2006/main" name="Tema_brumbrum">
  <a:themeElements>
    <a:clrScheme name="BRUMBRUM 2018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BDBDB"/>
      </a:accent1>
      <a:accent2>
        <a:srgbClr val="28B8CE"/>
      </a:accent2>
      <a:accent3>
        <a:srgbClr val="0065BD"/>
      </a:accent3>
      <a:accent4>
        <a:srgbClr val="002960"/>
      </a:accent4>
      <a:accent5>
        <a:srgbClr val="FFBA00"/>
      </a:accent5>
      <a:accent6>
        <a:srgbClr val="585858"/>
      </a:accent6>
      <a:hlink>
        <a:srgbClr val="0065BD"/>
      </a:hlink>
      <a:folHlink>
        <a:srgbClr val="00296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a_brumbrum" id="{B2E5E20D-7E6E-0045-9A32-81152CA3EC01}" vid="{24F80FF6-ADBF-CF45-AF10-DE3C87633C64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68</TotalTime>
  <Words>1099</Words>
  <Application>Microsoft Office PowerPoint</Application>
  <PresentationFormat>Widescreen</PresentationFormat>
  <Paragraphs>153</Paragraphs>
  <Slides>2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rial</vt:lpstr>
      <vt:lpstr>Calibri</vt:lpstr>
      <vt:lpstr>Wingdings</vt:lpstr>
      <vt:lpstr>Tema_brumbrum</vt:lpstr>
      <vt:lpstr>think-cell Slide</vt:lpstr>
      <vt:lpstr>December 14th, 2020</vt:lpstr>
      <vt:lpstr>Time Series</vt:lpstr>
      <vt:lpstr>Time Series</vt:lpstr>
      <vt:lpstr>Esempi di Time Series</vt:lpstr>
      <vt:lpstr>Proprietà</vt:lpstr>
      <vt:lpstr>Proprietà</vt:lpstr>
      <vt:lpstr>Esempio</vt:lpstr>
      <vt:lpstr>Proprietà</vt:lpstr>
      <vt:lpstr>Proprietà</vt:lpstr>
      <vt:lpstr>Proprietà</vt:lpstr>
      <vt:lpstr>Proprietà</vt:lpstr>
      <vt:lpstr>Modelli di previsione</vt:lpstr>
      <vt:lpstr>Modelli statistici</vt:lpstr>
      <vt:lpstr>Modelli statistici</vt:lpstr>
      <vt:lpstr>Modelli statistici</vt:lpstr>
      <vt:lpstr>Modelli statistici</vt:lpstr>
      <vt:lpstr>Modelli statistici</vt:lpstr>
      <vt:lpstr>Modelli a reti neurali</vt:lpstr>
      <vt:lpstr>Modelli a reti neurali</vt:lpstr>
      <vt:lpstr>Modelli a reti neurali</vt:lpstr>
      <vt:lpstr>Modelli a reti neurali</vt:lpstr>
      <vt:lpstr>Modelli a reti neurali</vt:lpstr>
      <vt:lpstr>Referenze</vt:lpstr>
      <vt:lpstr>Grazie per l’attenzione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vestor presentation</dc:title>
  <dc:creator>Francesco Banfi</dc:creator>
  <cp:lastModifiedBy>Maurizio Ragusa</cp:lastModifiedBy>
  <cp:revision>194</cp:revision>
  <cp:lastPrinted>2019-02-05T11:42:03Z</cp:lastPrinted>
  <dcterms:modified xsi:type="dcterms:W3CDTF">2020-12-14T12:05:26Z</dcterms:modified>
</cp:coreProperties>
</file>